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5.xml" ContentType="application/vnd.openxmlformats-officedocument.presentationml.tags+xml"/>
  <Override PartName="/ppt/comments/modernComment_7F3E8EFE_7378FB22.xml" ContentType="application/vnd.ms-powerpoint.comment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16.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1.xml" ContentType="application/vnd.openxmlformats-officedocument.drawingml.chartshape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drawings/drawing2.xml" ContentType="application/vnd.openxmlformats-officedocument.drawingml.chartshapes+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drawings/drawing3.xml" ContentType="application/vnd.openxmlformats-officedocument.drawingml.chartshape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73" r:id="rId1"/>
    <p:sldMasterId id="2147483678" r:id="rId2"/>
    <p:sldMasterId id="2147483685" r:id="rId3"/>
    <p:sldMasterId id="2147483697" r:id="rId4"/>
    <p:sldMasterId id="2147483730" r:id="rId5"/>
    <p:sldMasterId id="2147484899" r:id="rId6"/>
    <p:sldMasterId id="2147485410" r:id="rId7"/>
  </p:sldMasterIdLst>
  <p:notesMasterIdLst>
    <p:notesMasterId r:id="rId59"/>
  </p:notesMasterIdLst>
  <p:handoutMasterIdLst>
    <p:handoutMasterId r:id="rId60"/>
  </p:handoutMasterIdLst>
  <p:sldIdLst>
    <p:sldId id="2134806261" r:id="rId8"/>
    <p:sldId id="2134806318" r:id="rId9"/>
    <p:sldId id="2134806320" r:id="rId10"/>
    <p:sldId id="2134806323" r:id="rId11"/>
    <p:sldId id="2134806321" r:id="rId12"/>
    <p:sldId id="2134806366" r:id="rId13"/>
    <p:sldId id="2134806330" r:id="rId14"/>
    <p:sldId id="2134806337" r:id="rId15"/>
    <p:sldId id="2134806322" r:id="rId16"/>
    <p:sldId id="2134806270" r:id="rId17"/>
    <p:sldId id="2134806265" r:id="rId18"/>
    <p:sldId id="2134806317" r:id="rId19"/>
    <p:sldId id="2134806269" r:id="rId20"/>
    <p:sldId id="2134806271" r:id="rId21"/>
    <p:sldId id="2134806289" r:id="rId22"/>
    <p:sldId id="2134806326" r:id="rId23"/>
    <p:sldId id="2134806349" r:id="rId24"/>
    <p:sldId id="2134806329" r:id="rId25"/>
    <p:sldId id="2134806293" r:id="rId26"/>
    <p:sldId id="2134806328" r:id="rId27"/>
    <p:sldId id="2134806327" r:id="rId28"/>
    <p:sldId id="2134806332" r:id="rId29"/>
    <p:sldId id="2134806338" r:id="rId30"/>
    <p:sldId id="2134806339" r:id="rId31"/>
    <p:sldId id="2134806343" r:id="rId32"/>
    <p:sldId id="2134806341" r:id="rId33"/>
    <p:sldId id="2134806342" r:id="rId34"/>
    <p:sldId id="2134806344" r:id="rId35"/>
    <p:sldId id="2134806345" r:id="rId36"/>
    <p:sldId id="2134806346" r:id="rId37"/>
    <p:sldId id="2134806347" r:id="rId38"/>
    <p:sldId id="2134806334" r:id="rId39"/>
    <p:sldId id="2134806348" r:id="rId40"/>
    <p:sldId id="2134806335" r:id="rId41"/>
    <p:sldId id="2134806336" r:id="rId42"/>
    <p:sldId id="2134806333" r:id="rId43"/>
    <p:sldId id="2134806331" r:id="rId44"/>
    <p:sldId id="2134806351" r:id="rId45"/>
    <p:sldId id="2134806350" r:id="rId46"/>
    <p:sldId id="2134806352" r:id="rId47"/>
    <p:sldId id="2134806353" r:id="rId48"/>
    <p:sldId id="2134806357" r:id="rId49"/>
    <p:sldId id="2134806360" r:id="rId50"/>
    <p:sldId id="2134806356" r:id="rId51"/>
    <p:sldId id="2134806361" r:id="rId52"/>
    <p:sldId id="2134806362" r:id="rId53"/>
    <p:sldId id="2134806364" r:id="rId54"/>
    <p:sldId id="2134806355" r:id="rId55"/>
    <p:sldId id="2134806359" r:id="rId56"/>
    <p:sldId id="2134806365" r:id="rId57"/>
    <p:sldId id="2134806354" r:id="rId58"/>
  </p:sldIdLst>
  <p:sldSz cx="12192000" cy="6858000"/>
  <p:notesSz cx="6858000" cy="9144000"/>
  <p:custDataLst>
    <p:tags r:id="rId61"/>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A3A39358-42A3-4201-B2C1-C9FD2E651B2F}">
          <p14:sldIdLst>
            <p14:sldId id="2134806261"/>
            <p14:sldId id="2134806318"/>
            <p14:sldId id="2134806320"/>
            <p14:sldId id="2134806323"/>
            <p14:sldId id="2134806321"/>
            <p14:sldId id="2134806366"/>
            <p14:sldId id="2134806330"/>
            <p14:sldId id="2134806337"/>
            <p14:sldId id="2134806322"/>
            <p14:sldId id="2134806270"/>
            <p14:sldId id="2134806265"/>
            <p14:sldId id="2134806317"/>
            <p14:sldId id="2134806269"/>
            <p14:sldId id="2134806271"/>
            <p14:sldId id="2134806289"/>
            <p14:sldId id="2134806326"/>
            <p14:sldId id="2134806349"/>
            <p14:sldId id="2134806329"/>
            <p14:sldId id="2134806293"/>
            <p14:sldId id="2134806328"/>
            <p14:sldId id="2134806327"/>
            <p14:sldId id="2134806332"/>
            <p14:sldId id="2134806338"/>
            <p14:sldId id="2134806339"/>
            <p14:sldId id="2134806343"/>
            <p14:sldId id="2134806341"/>
            <p14:sldId id="2134806342"/>
            <p14:sldId id="2134806344"/>
            <p14:sldId id="2134806345"/>
            <p14:sldId id="2134806346"/>
            <p14:sldId id="2134806347"/>
            <p14:sldId id="2134806334"/>
            <p14:sldId id="2134806348"/>
            <p14:sldId id="2134806335"/>
            <p14:sldId id="2134806336"/>
            <p14:sldId id="2134806333"/>
            <p14:sldId id="2134806331"/>
            <p14:sldId id="2134806351"/>
            <p14:sldId id="2134806350"/>
            <p14:sldId id="2134806352"/>
            <p14:sldId id="2134806353"/>
            <p14:sldId id="2134806357"/>
            <p14:sldId id="2134806360"/>
            <p14:sldId id="2134806356"/>
            <p14:sldId id="2134806361"/>
            <p14:sldId id="2134806362"/>
            <p14:sldId id="2134806364"/>
            <p14:sldId id="2134806355"/>
            <p14:sldId id="2134806359"/>
            <p14:sldId id="2134806365"/>
            <p14:sldId id="2134806354"/>
          </p14:sldIdLst>
        </p14:section>
      </p14:sectionLst>
    </p:ext>
    <p:ext uri="{EFAFB233-063F-42B5-8137-9DF3F51BA10A}">
      <p15:sldGuideLst xmlns:p15="http://schemas.microsoft.com/office/powerpoint/2012/main">
        <p15:guide id="1" orient="horz" pos="1656" userDrawn="1">
          <p15:clr>
            <a:srgbClr val="A4A3A4"/>
          </p15:clr>
        </p15:guide>
        <p15:guide id="21" userDrawn="1">
          <p15:clr>
            <a:srgbClr val="A4A3A4"/>
          </p15:clr>
        </p15:guide>
        <p15:guide id="47" orient="horz" pos="3163" userDrawn="1">
          <p15:clr>
            <a:srgbClr val="A4A3A4"/>
          </p15:clr>
        </p15:guide>
        <p15:guide id="66" pos="4679" userDrawn="1">
          <p15:clr>
            <a:srgbClr val="A4A3A4"/>
          </p15:clr>
        </p15:guide>
        <p15:guide id="75" orient="horz" pos="2523" userDrawn="1">
          <p15:clr>
            <a:srgbClr val="A4A3A4"/>
          </p15:clr>
        </p15:guide>
        <p15:guide id="76" orient="horz" pos="3816" userDrawn="1">
          <p15:clr>
            <a:srgbClr val="A4A3A4"/>
          </p15:clr>
        </p15:guide>
        <p15:guide id="78" orient="horz" pos="1094" userDrawn="1">
          <p15:clr>
            <a:srgbClr val="A4A3A4"/>
          </p15:clr>
        </p15:guide>
        <p15:guide id="79" pos="3840" userDrawn="1">
          <p15:clr>
            <a:srgbClr val="A4A3A4"/>
          </p15:clr>
        </p15:guide>
        <p15:guide id="82" pos="6811" userDrawn="1">
          <p15:clr>
            <a:srgbClr val="A4A3A4"/>
          </p15:clr>
        </p15:guide>
        <p15:guide id="83" pos="461" userDrawn="1">
          <p15:clr>
            <a:srgbClr val="A4A3A4"/>
          </p15:clr>
        </p15:guide>
        <p15:guide id="84" pos="7605" userDrawn="1">
          <p15:clr>
            <a:srgbClr val="A4A3A4"/>
          </p15:clr>
        </p15:guide>
        <p15:guide id="85" pos="1708" userDrawn="1">
          <p15:clr>
            <a:srgbClr val="A4A3A4"/>
          </p15:clr>
        </p15:guide>
        <p15:guide id="88" orient="horz" pos="3012" userDrawn="1">
          <p15:clr>
            <a:srgbClr val="A4A3A4"/>
          </p15:clr>
        </p15:guide>
        <p15:guide id="89" orient="horz" pos="1570" userDrawn="1">
          <p15:clr>
            <a:srgbClr val="A4A3A4"/>
          </p15:clr>
        </p15:guide>
        <p15:guide id="90" orient="horz" pos="129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7E2789-BA1F-4CFC-DCC7-3CA0D04D8AE8}" name="STEPANCHENKO, D. (Dmitrii)" initials="SD(" userId="S::dmitrii.stepanchenko@ing.com::30c9d29d-ac41-46ff-b2be-c3f5dd1e26e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Андреев Даниил Юрьевич" initials="АДЮ [2]" lastIdx="3" clrIdx="6">
    <p:extLst>
      <p:ext uri="{19B8F6BF-5375-455C-9EA6-DF929625EA0E}">
        <p15:presenceInfo xmlns:p15="http://schemas.microsoft.com/office/powerpoint/2012/main" userId="S-1-5-21-12604286-1394344279-468603755-1270333" providerId="AD"/>
      </p:ext>
    </p:extLst>
  </p:cmAuthor>
  <p:cmAuthor id="1" name="Дрючевский Дмитрий Викторович" initials="ДДВ" lastIdx="1" clrIdx="0">
    <p:extLst>
      <p:ext uri="{19B8F6BF-5375-455C-9EA6-DF929625EA0E}">
        <p15:presenceInfo xmlns:p15="http://schemas.microsoft.com/office/powerpoint/2012/main" userId="Дрючевский Дмитрий Викторович" providerId="None"/>
      </p:ext>
    </p:extLst>
  </p:cmAuthor>
  <p:cmAuthor id="8" name="ДС" initials="ДС" lastIdx="6" clrIdx="7">
    <p:extLst>
      <p:ext uri="{19B8F6BF-5375-455C-9EA6-DF929625EA0E}">
        <p15:presenceInfo xmlns:p15="http://schemas.microsoft.com/office/powerpoint/2012/main" userId="ДС" providerId="None"/>
      </p:ext>
    </p:extLst>
  </p:cmAuthor>
  <p:cmAuthor id="2" name="Степанченко Дмитрий Сергеевич" initials="СДС" lastIdx="219" clrIdx="1">
    <p:extLst>
      <p:ext uri="{19B8F6BF-5375-455C-9EA6-DF929625EA0E}">
        <p15:presenceInfo xmlns:p15="http://schemas.microsoft.com/office/powerpoint/2012/main" userId="Степанченко Дмитрий Сергеевич" providerId="None"/>
      </p:ext>
    </p:extLst>
  </p:cmAuthor>
  <p:cmAuthor id="3" name="Андреев Даниил Юрьевич" initials="АДЮ" lastIdx="27" clrIdx="2">
    <p:extLst>
      <p:ext uri="{19B8F6BF-5375-455C-9EA6-DF929625EA0E}">
        <p15:presenceInfo xmlns:p15="http://schemas.microsoft.com/office/powerpoint/2012/main" userId="Андреев Даниил Юрьевич" providerId="None"/>
      </p:ext>
    </p:extLst>
  </p:cmAuthor>
  <p:cmAuthor id="4" name="Гостев Андрей Сергеевич" initials="ГАС" lastIdx="43" clrIdx="3">
    <p:extLst>
      <p:ext uri="{19B8F6BF-5375-455C-9EA6-DF929625EA0E}">
        <p15:presenceInfo xmlns:p15="http://schemas.microsoft.com/office/powerpoint/2012/main" userId="Гостев Андрей Сергеевич" providerId="None"/>
      </p:ext>
    </p:extLst>
  </p:cmAuthor>
  <p:cmAuthor id="5" name="Ростов Олег Евгеньевич" initials="РОЕ" lastIdx="30" clrIdx="4">
    <p:extLst>
      <p:ext uri="{19B8F6BF-5375-455C-9EA6-DF929625EA0E}">
        <p15:presenceInfo xmlns:p15="http://schemas.microsoft.com/office/powerpoint/2012/main" userId="Ростов Олег Евгеньевич" providerId="None"/>
      </p:ext>
    </p:extLst>
  </p:cmAuthor>
  <p:cmAuthor id="6" name="Соловьев Георгий Александрович" initials="СГА" lastIdx="3" clrIdx="5">
    <p:extLst>
      <p:ext uri="{19B8F6BF-5375-455C-9EA6-DF929625EA0E}">
        <p15:presenceInfo xmlns:p15="http://schemas.microsoft.com/office/powerpoint/2012/main" userId="Соловьев Георгий Александрови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C55A11"/>
    <a:srgbClr val="1F4E79"/>
    <a:srgbClr val="5B9BD5"/>
    <a:srgbClr val="ED7D31"/>
    <a:srgbClr val="FF0E0E"/>
    <a:srgbClr val="7F7F7F"/>
    <a:srgbClr val="BB00DA"/>
    <a:srgbClr val="808080"/>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B344D84-9AFB-497E-A393-DC336BA19D2E}" styleName="Средний стиль 3 — акцент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14" autoAdjust="0"/>
    <p:restoredTop sz="93979" autoAdjust="0"/>
  </p:normalViewPr>
  <p:slideViewPr>
    <p:cSldViewPr snapToGrid="0">
      <p:cViewPr varScale="1">
        <p:scale>
          <a:sx n="86" d="100"/>
          <a:sy n="86" d="100"/>
        </p:scale>
        <p:origin x="648" y="58"/>
      </p:cViewPr>
      <p:guideLst>
        <p:guide orient="horz" pos="1656"/>
        <p:guide/>
        <p:guide orient="horz" pos="3163"/>
        <p:guide pos="4679"/>
        <p:guide orient="horz" pos="2523"/>
        <p:guide orient="horz" pos="3816"/>
        <p:guide orient="horz" pos="1094"/>
        <p:guide pos="3840"/>
        <p:guide pos="6811"/>
        <p:guide pos="461"/>
        <p:guide pos="7605"/>
        <p:guide pos="1708"/>
        <p:guide orient="horz" pos="3012"/>
        <p:guide orient="horz" pos="1570"/>
        <p:guide orient="horz" pos="1298"/>
      </p:guideLst>
    </p:cSldViewPr>
  </p:slideViewPr>
  <p:outlineViewPr>
    <p:cViewPr>
      <p:scale>
        <a:sx n="33" d="100"/>
        <a:sy n="33" d="100"/>
      </p:scale>
      <p:origin x="0" y="0"/>
    </p:cViewPr>
  </p:outlineViewPr>
  <p:notesTextViewPr>
    <p:cViewPr>
      <p:scale>
        <a:sx n="110" d="100"/>
        <a:sy n="110" d="100"/>
      </p:scale>
      <p:origin x="0" y="0"/>
    </p:cViewPr>
  </p:notesTextViewPr>
  <p:notesViewPr>
    <p:cSldViewPr snapToGrid="0">
      <p:cViewPr varScale="1">
        <p:scale>
          <a:sx n="50" d="100"/>
          <a:sy n="50" d="100"/>
        </p:scale>
        <p:origin x="2640" y="3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presProps" Target="presProps.xml"/><Relationship Id="rId68" Type="http://schemas.microsoft.com/office/2018/10/relationships/authors" Targe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tags" Target="tags/tag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notesMaster" Target="notesMasters/notesMaster1.xml"/><Relationship Id="rId67" Type="http://schemas.microsoft.com/office/2016/11/relationships/changesInfo" Target="changesInfos/changesInfo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handoutMaster" Target="handoutMasters/handoutMaster1.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ANCHENKO, D. (Dmitrii)" userId="30c9d29d-ac41-46ff-b2be-c3f5dd1e26e1" providerId="ADAL" clId="{0D4D30D3-52F8-490C-8E8C-24DC58349B06}"/>
    <pc:docChg chg="undo redo custSel addSld delSld modSld sldOrd modSection">
      <pc:chgData name="STEPANCHENKO, D. (Dmitrii)" userId="30c9d29d-ac41-46ff-b2be-c3f5dd1e26e1" providerId="ADAL" clId="{0D4D30D3-52F8-490C-8E8C-24DC58349B06}" dt="2022-12-31T10:28:41.364" v="8161" actId="13926"/>
      <pc:docMkLst>
        <pc:docMk/>
      </pc:docMkLst>
      <pc:sldChg chg="modSp mod">
        <pc:chgData name="STEPANCHENKO, D. (Dmitrii)" userId="30c9d29d-ac41-46ff-b2be-c3f5dd1e26e1" providerId="ADAL" clId="{0D4D30D3-52F8-490C-8E8C-24DC58349B06}" dt="2022-12-22T12:48:30.071" v="3688" actId="6549"/>
        <pc:sldMkLst>
          <pc:docMk/>
          <pc:sldMk cId="1150082579" sldId="2134806261"/>
        </pc:sldMkLst>
        <pc:spChg chg="mod">
          <ac:chgData name="STEPANCHENKO, D. (Dmitrii)" userId="30c9d29d-ac41-46ff-b2be-c3f5dd1e26e1" providerId="ADAL" clId="{0D4D30D3-52F8-490C-8E8C-24DC58349B06}" dt="2022-12-22T12:48:30.071" v="3688" actId="6549"/>
          <ac:spMkLst>
            <pc:docMk/>
            <pc:sldMk cId="1150082579" sldId="2134806261"/>
            <ac:spMk id="7" creationId="{00000000-0000-0000-0000-000000000000}"/>
          </ac:spMkLst>
        </pc:spChg>
      </pc:sldChg>
      <pc:sldChg chg="addSp delSp modSp mod delAnim">
        <pc:chgData name="STEPANCHENKO, D. (Dmitrii)" userId="30c9d29d-ac41-46ff-b2be-c3f5dd1e26e1" providerId="ADAL" clId="{0D4D30D3-52F8-490C-8E8C-24DC58349B06}" dt="2022-12-31T10:21:30.044" v="7983" actId="27918"/>
        <pc:sldMkLst>
          <pc:docMk/>
          <pc:sldMk cId="826615147" sldId="2134806265"/>
        </pc:sldMkLst>
        <pc:graphicFrameChg chg="del mod">
          <ac:chgData name="STEPANCHENKO, D. (Dmitrii)" userId="30c9d29d-ac41-46ff-b2be-c3f5dd1e26e1" providerId="ADAL" clId="{0D4D30D3-52F8-490C-8E8C-24DC58349B06}" dt="2022-12-27T17:25:19.333" v="7169" actId="478"/>
          <ac:graphicFrameMkLst>
            <pc:docMk/>
            <pc:sldMk cId="826615147" sldId="2134806265"/>
            <ac:graphicFrameMk id="8" creationId="{00000000-0000-0000-0000-000000000000}"/>
          </ac:graphicFrameMkLst>
        </pc:graphicFrameChg>
        <pc:graphicFrameChg chg="add mod">
          <ac:chgData name="STEPANCHENKO, D. (Dmitrii)" userId="30c9d29d-ac41-46ff-b2be-c3f5dd1e26e1" providerId="ADAL" clId="{0D4D30D3-52F8-490C-8E8C-24DC58349B06}" dt="2022-12-27T17:28:32.210" v="7249" actId="20577"/>
          <ac:graphicFrameMkLst>
            <pc:docMk/>
            <pc:sldMk cId="826615147" sldId="2134806265"/>
            <ac:graphicFrameMk id="10" creationId="{C1650B40-7C97-475C-93CC-E7F2AD0C6074}"/>
          </ac:graphicFrameMkLst>
        </pc:graphicFrameChg>
      </pc:sldChg>
      <pc:sldChg chg="modSp mod">
        <pc:chgData name="STEPANCHENKO, D. (Dmitrii)" userId="30c9d29d-ac41-46ff-b2be-c3f5dd1e26e1" providerId="ADAL" clId="{0D4D30D3-52F8-490C-8E8C-24DC58349B06}" dt="2022-12-23T13:40:58.391" v="6370" actId="20577"/>
        <pc:sldMkLst>
          <pc:docMk/>
          <pc:sldMk cId="4146022198" sldId="2134806269"/>
        </pc:sldMkLst>
        <pc:spChg chg="mod">
          <ac:chgData name="STEPANCHENKO, D. (Dmitrii)" userId="30c9d29d-ac41-46ff-b2be-c3f5dd1e26e1" providerId="ADAL" clId="{0D4D30D3-52F8-490C-8E8C-24DC58349B06}" dt="2022-12-23T13:40:58.391" v="6370" actId="20577"/>
          <ac:spMkLst>
            <pc:docMk/>
            <pc:sldMk cId="4146022198" sldId="2134806269"/>
            <ac:spMk id="5" creationId="{81BD1123-3626-1C45-BF5B-1C1864FA8AFA}"/>
          </ac:spMkLst>
        </pc:spChg>
      </pc:sldChg>
      <pc:sldChg chg="addCm">
        <pc:chgData name="STEPANCHENKO, D. (Dmitrii)" userId="30c9d29d-ac41-46ff-b2be-c3f5dd1e26e1" providerId="ADAL" clId="{0D4D30D3-52F8-490C-8E8C-24DC58349B06}" dt="2022-12-22T10:08:14.113" v="2370"/>
        <pc:sldMkLst>
          <pc:docMk/>
          <pc:sldMk cId="1937308450" sldId="2134806270"/>
        </pc:sldMkLst>
      </pc:sldChg>
      <pc:sldChg chg="modSp mod">
        <pc:chgData name="STEPANCHENKO, D. (Dmitrii)" userId="30c9d29d-ac41-46ff-b2be-c3f5dd1e26e1" providerId="ADAL" clId="{0D4D30D3-52F8-490C-8E8C-24DC58349B06}" dt="2022-12-23T13:40:32.162" v="6358" actId="20577"/>
        <pc:sldMkLst>
          <pc:docMk/>
          <pc:sldMk cId="3806807723" sldId="2134806271"/>
        </pc:sldMkLst>
        <pc:spChg chg="mod">
          <ac:chgData name="STEPANCHENKO, D. (Dmitrii)" userId="30c9d29d-ac41-46ff-b2be-c3f5dd1e26e1" providerId="ADAL" clId="{0D4D30D3-52F8-490C-8E8C-24DC58349B06}" dt="2022-12-23T13:40:32.162" v="6358" actId="20577"/>
          <ac:spMkLst>
            <pc:docMk/>
            <pc:sldMk cId="3806807723" sldId="2134806271"/>
            <ac:spMk id="5" creationId="{81BD1123-3626-1C45-BF5B-1C1864FA8AFA}"/>
          </ac:spMkLst>
        </pc:spChg>
        <pc:graphicFrameChg chg="mod modGraphic">
          <ac:chgData name="STEPANCHENKO, D. (Dmitrii)" userId="30c9d29d-ac41-46ff-b2be-c3f5dd1e26e1" providerId="ADAL" clId="{0D4D30D3-52F8-490C-8E8C-24DC58349B06}" dt="2022-12-22T12:30:38.710" v="3516" actId="14100"/>
          <ac:graphicFrameMkLst>
            <pc:docMk/>
            <pc:sldMk cId="3806807723" sldId="2134806271"/>
            <ac:graphicFrameMk id="4" creationId="{4FA4670E-7F8F-F66C-8A96-9C378A643C68}"/>
          </ac:graphicFrameMkLst>
        </pc:graphicFrameChg>
      </pc:sldChg>
      <pc:sldChg chg="del ord">
        <pc:chgData name="STEPANCHENKO, D. (Dmitrii)" userId="30c9d29d-ac41-46ff-b2be-c3f5dd1e26e1" providerId="ADAL" clId="{0D4D30D3-52F8-490C-8E8C-24DC58349B06}" dt="2022-12-22T12:49:49.034" v="3691" actId="47"/>
        <pc:sldMkLst>
          <pc:docMk/>
          <pc:sldMk cId="465747562" sldId="2134806272"/>
        </pc:sldMkLst>
      </pc:sldChg>
      <pc:sldChg chg="del">
        <pc:chgData name="STEPANCHENKO, D. (Dmitrii)" userId="30c9d29d-ac41-46ff-b2be-c3f5dd1e26e1" providerId="ADAL" clId="{0D4D30D3-52F8-490C-8E8C-24DC58349B06}" dt="2022-12-22T12:49:50.216" v="3692" actId="47"/>
        <pc:sldMkLst>
          <pc:docMk/>
          <pc:sldMk cId="2131309805" sldId="2134806273"/>
        </pc:sldMkLst>
      </pc:sldChg>
      <pc:sldChg chg="del">
        <pc:chgData name="STEPANCHENKO, D. (Dmitrii)" userId="30c9d29d-ac41-46ff-b2be-c3f5dd1e26e1" providerId="ADAL" clId="{0D4D30D3-52F8-490C-8E8C-24DC58349B06}" dt="2022-12-22T12:59:01.396" v="3959" actId="47"/>
        <pc:sldMkLst>
          <pc:docMk/>
          <pc:sldMk cId="2186333978" sldId="2134806274"/>
        </pc:sldMkLst>
      </pc:sldChg>
      <pc:sldChg chg="modSp del mod">
        <pc:chgData name="STEPANCHENKO, D. (Dmitrii)" userId="30c9d29d-ac41-46ff-b2be-c3f5dd1e26e1" providerId="ADAL" clId="{0D4D30D3-52F8-490C-8E8C-24DC58349B06}" dt="2022-12-20T15:43:48.419" v="110" actId="47"/>
        <pc:sldMkLst>
          <pc:docMk/>
          <pc:sldMk cId="4005348636" sldId="2134806275"/>
        </pc:sldMkLst>
        <pc:spChg chg="mod">
          <ac:chgData name="STEPANCHENKO, D. (Dmitrii)" userId="30c9d29d-ac41-46ff-b2be-c3f5dd1e26e1" providerId="ADAL" clId="{0D4D30D3-52F8-490C-8E8C-24DC58349B06}" dt="2022-12-19T15:09:12.604" v="2" actId="20577"/>
          <ac:spMkLst>
            <pc:docMk/>
            <pc:sldMk cId="4005348636" sldId="2134806275"/>
            <ac:spMk id="5" creationId="{81BD1123-3626-1C45-BF5B-1C1864FA8AFA}"/>
          </ac:spMkLst>
        </pc:spChg>
      </pc:sldChg>
      <pc:sldChg chg="del">
        <pc:chgData name="STEPANCHENKO, D. (Dmitrii)" userId="30c9d29d-ac41-46ff-b2be-c3f5dd1e26e1" providerId="ADAL" clId="{0D4D30D3-52F8-490C-8E8C-24DC58349B06}" dt="2022-12-22T12:59:01.396" v="3959" actId="47"/>
        <pc:sldMkLst>
          <pc:docMk/>
          <pc:sldMk cId="1163832783" sldId="2134806276"/>
        </pc:sldMkLst>
      </pc:sldChg>
      <pc:sldChg chg="del">
        <pc:chgData name="STEPANCHENKO, D. (Dmitrii)" userId="30c9d29d-ac41-46ff-b2be-c3f5dd1e26e1" providerId="ADAL" clId="{0D4D30D3-52F8-490C-8E8C-24DC58349B06}" dt="2022-12-22T12:59:01.396" v="3959" actId="47"/>
        <pc:sldMkLst>
          <pc:docMk/>
          <pc:sldMk cId="1278494145" sldId="2134806277"/>
        </pc:sldMkLst>
      </pc:sldChg>
      <pc:sldChg chg="del">
        <pc:chgData name="STEPANCHENKO, D. (Dmitrii)" userId="30c9d29d-ac41-46ff-b2be-c3f5dd1e26e1" providerId="ADAL" clId="{0D4D30D3-52F8-490C-8E8C-24DC58349B06}" dt="2022-12-22T12:59:01.396" v="3959" actId="47"/>
        <pc:sldMkLst>
          <pc:docMk/>
          <pc:sldMk cId="4133406611" sldId="2134806278"/>
        </pc:sldMkLst>
      </pc:sldChg>
      <pc:sldChg chg="del">
        <pc:chgData name="STEPANCHENKO, D. (Dmitrii)" userId="30c9d29d-ac41-46ff-b2be-c3f5dd1e26e1" providerId="ADAL" clId="{0D4D30D3-52F8-490C-8E8C-24DC58349B06}" dt="2022-12-22T12:59:01.396" v="3959" actId="47"/>
        <pc:sldMkLst>
          <pc:docMk/>
          <pc:sldMk cId="420433722" sldId="2134806279"/>
        </pc:sldMkLst>
      </pc:sldChg>
      <pc:sldChg chg="del">
        <pc:chgData name="STEPANCHENKO, D. (Dmitrii)" userId="30c9d29d-ac41-46ff-b2be-c3f5dd1e26e1" providerId="ADAL" clId="{0D4D30D3-52F8-490C-8E8C-24DC58349B06}" dt="2022-12-22T12:59:01.396" v="3959" actId="47"/>
        <pc:sldMkLst>
          <pc:docMk/>
          <pc:sldMk cId="3644147675" sldId="2134806280"/>
        </pc:sldMkLst>
      </pc:sldChg>
      <pc:sldChg chg="del">
        <pc:chgData name="STEPANCHENKO, D. (Dmitrii)" userId="30c9d29d-ac41-46ff-b2be-c3f5dd1e26e1" providerId="ADAL" clId="{0D4D30D3-52F8-490C-8E8C-24DC58349B06}" dt="2022-12-22T12:59:01.396" v="3959" actId="47"/>
        <pc:sldMkLst>
          <pc:docMk/>
          <pc:sldMk cId="2384841978" sldId="2134806281"/>
        </pc:sldMkLst>
      </pc:sldChg>
      <pc:sldChg chg="del">
        <pc:chgData name="STEPANCHENKO, D. (Dmitrii)" userId="30c9d29d-ac41-46ff-b2be-c3f5dd1e26e1" providerId="ADAL" clId="{0D4D30D3-52F8-490C-8E8C-24DC58349B06}" dt="2022-12-22T12:59:01.396" v="3959" actId="47"/>
        <pc:sldMkLst>
          <pc:docMk/>
          <pc:sldMk cId="1359392184" sldId="2134806282"/>
        </pc:sldMkLst>
      </pc:sldChg>
      <pc:sldChg chg="del">
        <pc:chgData name="STEPANCHENKO, D. (Dmitrii)" userId="30c9d29d-ac41-46ff-b2be-c3f5dd1e26e1" providerId="ADAL" clId="{0D4D30D3-52F8-490C-8E8C-24DC58349B06}" dt="2022-12-22T12:59:01.396" v="3959" actId="47"/>
        <pc:sldMkLst>
          <pc:docMk/>
          <pc:sldMk cId="763459013" sldId="2134806283"/>
        </pc:sldMkLst>
      </pc:sldChg>
      <pc:sldChg chg="del">
        <pc:chgData name="STEPANCHENKO, D. (Dmitrii)" userId="30c9d29d-ac41-46ff-b2be-c3f5dd1e26e1" providerId="ADAL" clId="{0D4D30D3-52F8-490C-8E8C-24DC58349B06}" dt="2022-12-22T12:59:01.396" v="3959" actId="47"/>
        <pc:sldMkLst>
          <pc:docMk/>
          <pc:sldMk cId="597763636" sldId="2134806284"/>
        </pc:sldMkLst>
      </pc:sldChg>
      <pc:sldChg chg="del">
        <pc:chgData name="STEPANCHENKO, D. (Dmitrii)" userId="30c9d29d-ac41-46ff-b2be-c3f5dd1e26e1" providerId="ADAL" clId="{0D4D30D3-52F8-490C-8E8C-24DC58349B06}" dt="2022-12-22T12:59:01.396" v="3959" actId="47"/>
        <pc:sldMkLst>
          <pc:docMk/>
          <pc:sldMk cId="2611480545" sldId="2134806285"/>
        </pc:sldMkLst>
      </pc:sldChg>
      <pc:sldChg chg="del">
        <pc:chgData name="STEPANCHENKO, D. (Dmitrii)" userId="30c9d29d-ac41-46ff-b2be-c3f5dd1e26e1" providerId="ADAL" clId="{0D4D30D3-52F8-490C-8E8C-24DC58349B06}" dt="2022-12-22T12:59:01.396" v="3959" actId="47"/>
        <pc:sldMkLst>
          <pc:docMk/>
          <pc:sldMk cId="2681946265" sldId="2134806286"/>
        </pc:sldMkLst>
      </pc:sldChg>
      <pc:sldChg chg="del">
        <pc:chgData name="STEPANCHENKO, D. (Dmitrii)" userId="30c9d29d-ac41-46ff-b2be-c3f5dd1e26e1" providerId="ADAL" clId="{0D4D30D3-52F8-490C-8E8C-24DC58349B06}" dt="2022-12-22T12:59:01.396" v="3959" actId="47"/>
        <pc:sldMkLst>
          <pc:docMk/>
          <pc:sldMk cId="3215440964" sldId="2134806287"/>
        </pc:sldMkLst>
      </pc:sldChg>
      <pc:sldChg chg="modSp mod">
        <pc:chgData name="STEPANCHENKO, D. (Dmitrii)" userId="30c9d29d-ac41-46ff-b2be-c3f5dd1e26e1" providerId="ADAL" clId="{0D4D30D3-52F8-490C-8E8C-24DC58349B06}" dt="2022-12-20T15:43:53.119" v="114" actId="20577"/>
        <pc:sldMkLst>
          <pc:docMk/>
          <pc:sldMk cId="2322687294" sldId="2134806289"/>
        </pc:sldMkLst>
        <pc:spChg chg="mod">
          <ac:chgData name="STEPANCHENKO, D. (Dmitrii)" userId="30c9d29d-ac41-46ff-b2be-c3f5dd1e26e1" providerId="ADAL" clId="{0D4D30D3-52F8-490C-8E8C-24DC58349B06}" dt="2022-12-20T15:43:53.119" v="114" actId="20577"/>
          <ac:spMkLst>
            <pc:docMk/>
            <pc:sldMk cId="2322687294" sldId="2134806289"/>
            <ac:spMk id="5" creationId="{81BD1123-3626-1C45-BF5B-1C1864FA8AFA}"/>
          </ac:spMkLst>
        </pc:spChg>
      </pc:sldChg>
      <pc:sldChg chg="del">
        <pc:chgData name="STEPANCHENKO, D. (Dmitrii)" userId="30c9d29d-ac41-46ff-b2be-c3f5dd1e26e1" providerId="ADAL" clId="{0D4D30D3-52F8-490C-8E8C-24DC58349B06}" dt="2022-12-20T15:46:13.264" v="118" actId="47"/>
        <pc:sldMkLst>
          <pc:docMk/>
          <pc:sldMk cId="1645705839" sldId="2134806290"/>
        </pc:sldMkLst>
      </pc:sldChg>
      <pc:sldChg chg="modSp del mod">
        <pc:chgData name="STEPANCHENKO, D. (Dmitrii)" userId="30c9d29d-ac41-46ff-b2be-c3f5dd1e26e1" providerId="ADAL" clId="{0D4D30D3-52F8-490C-8E8C-24DC58349B06}" dt="2022-12-20T15:50:10.935" v="124" actId="47"/>
        <pc:sldMkLst>
          <pc:docMk/>
          <pc:sldMk cId="3032188021" sldId="2134806291"/>
        </pc:sldMkLst>
        <pc:picChg chg="mod">
          <ac:chgData name="STEPANCHENKO, D. (Dmitrii)" userId="30c9d29d-ac41-46ff-b2be-c3f5dd1e26e1" providerId="ADAL" clId="{0D4D30D3-52F8-490C-8E8C-24DC58349B06}" dt="2022-12-20T15:47:57.360" v="123" actId="1036"/>
          <ac:picMkLst>
            <pc:docMk/>
            <pc:sldMk cId="3032188021" sldId="2134806291"/>
            <ac:picMk id="3" creationId="{00000000-0000-0000-0000-000000000000}"/>
          </ac:picMkLst>
        </pc:picChg>
      </pc:sldChg>
      <pc:sldChg chg="del">
        <pc:chgData name="STEPANCHENKO, D. (Dmitrii)" userId="30c9d29d-ac41-46ff-b2be-c3f5dd1e26e1" providerId="ADAL" clId="{0D4D30D3-52F8-490C-8E8C-24DC58349B06}" dt="2022-12-20T15:50:10.935" v="124" actId="47"/>
        <pc:sldMkLst>
          <pc:docMk/>
          <pc:sldMk cId="1967090604" sldId="2134806292"/>
        </pc:sldMkLst>
      </pc:sldChg>
      <pc:sldChg chg="addSp delSp modSp mod delAnim modAnim">
        <pc:chgData name="STEPANCHENKO, D. (Dmitrii)" userId="30c9d29d-ac41-46ff-b2be-c3f5dd1e26e1" providerId="ADAL" clId="{0D4D30D3-52F8-490C-8E8C-24DC58349B06}" dt="2022-12-22T10:28:00.545" v="2467"/>
        <pc:sldMkLst>
          <pc:docMk/>
          <pc:sldMk cId="1987294738" sldId="2134806293"/>
        </pc:sldMkLst>
        <pc:spChg chg="mod">
          <ac:chgData name="STEPANCHENKO, D. (Dmitrii)" userId="30c9d29d-ac41-46ff-b2be-c3f5dd1e26e1" providerId="ADAL" clId="{0D4D30D3-52F8-490C-8E8C-24DC58349B06}" dt="2022-12-20T15:56:34.207" v="352" actId="20577"/>
          <ac:spMkLst>
            <pc:docMk/>
            <pc:sldMk cId="1987294738" sldId="2134806293"/>
            <ac:spMk id="5" creationId="{81BD1123-3626-1C45-BF5B-1C1864FA8AFA}"/>
          </ac:spMkLst>
        </pc:spChg>
        <pc:spChg chg="add del mod">
          <ac:chgData name="STEPANCHENKO, D. (Dmitrii)" userId="30c9d29d-ac41-46ff-b2be-c3f5dd1e26e1" providerId="ADAL" clId="{0D4D30D3-52F8-490C-8E8C-24DC58349B06}" dt="2022-12-20T16:19:14.249" v="1053" actId="478"/>
          <ac:spMkLst>
            <pc:docMk/>
            <pc:sldMk cId="1987294738" sldId="2134806293"/>
            <ac:spMk id="6" creationId="{0FF84AE5-C9A0-4DE9-B4E8-D87E7C2518FA}"/>
          </ac:spMkLst>
        </pc:spChg>
        <pc:spChg chg="add mod">
          <ac:chgData name="STEPANCHENKO, D. (Dmitrii)" userId="30c9d29d-ac41-46ff-b2be-c3f5dd1e26e1" providerId="ADAL" clId="{0D4D30D3-52F8-490C-8E8C-24DC58349B06}" dt="2022-12-22T10:28:00.545" v="2467"/>
          <ac:spMkLst>
            <pc:docMk/>
            <pc:sldMk cId="1987294738" sldId="2134806293"/>
            <ac:spMk id="10" creationId="{A6E92ECF-270A-44BB-8587-F040D6AE0666}"/>
          </ac:spMkLst>
        </pc:spChg>
        <pc:spChg chg="add mod">
          <ac:chgData name="STEPANCHENKO, D. (Dmitrii)" userId="30c9d29d-ac41-46ff-b2be-c3f5dd1e26e1" providerId="ADAL" clId="{0D4D30D3-52F8-490C-8E8C-24DC58349B06}" dt="2022-12-20T16:27:41.348" v="1386" actId="208"/>
          <ac:spMkLst>
            <pc:docMk/>
            <pc:sldMk cId="1987294738" sldId="2134806293"/>
            <ac:spMk id="11" creationId="{4A89C080-E02A-4114-9A18-64ED1A28D56E}"/>
          </ac:spMkLst>
        </pc:spChg>
        <pc:spChg chg="add mod">
          <ac:chgData name="STEPANCHENKO, D. (Dmitrii)" userId="30c9d29d-ac41-46ff-b2be-c3f5dd1e26e1" providerId="ADAL" clId="{0D4D30D3-52F8-490C-8E8C-24DC58349B06}" dt="2022-12-20T16:21:40.471" v="1205" actId="20577"/>
          <ac:spMkLst>
            <pc:docMk/>
            <pc:sldMk cId="1987294738" sldId="2134806293"/>
            <ac:spMk id="12" creationId="{5BECD0C1-26C4-4E02-BB63-25E01F272DF2}"/>
          </ac:spMkLst>
        </pc:spChg>
        <pc:spChg chg="add mod">
          <ac:chgData name="STEPANCHENKO, D. (Dmitrii)" userId="30c9d29d-ac41-46ff-b2be-c3f5dd1e26e1" providerId="ADAL" clId="{0D4D30D3-52F8-490C-8E8C-24DC58349B06}" dt="2022-12-20T16:26:33.454" v="1362" actId="20577"/>
          <ac:spMkLst>
            <pc:docMk/>
            <pc:sldMk cId="1987294738" sldId="2134806293"/>
            <ac:spMk id="13" creationId="{4D660AA7-3162-4D46-B4E1-8000203E46DB}"/>
          </ac:spMkLst>
        </pc:spChg>
        <pc:graphicFrameChg chg="add del mod">
          <ac:chgData name="STEPANCHENKO, D. (Dmitrii)" userId="30c9d29d-ac41-46ff-b2be-c3f5dd1e26e1" providerId="ADAL" clId="{0D4D30D3-52F8-490C-8E8C-24DC58349B06}" dt="2022-12-20T16:34:38.870" v="1398"/>
          <ac:graphicFrameMkLst>
            <pc:docMk/>
            <pc:sldMk cId="1987294738" sldId="2134806293"/>
            <ac:graphicFrameMk id="14" creationId="{D1851D2D-DE16-444C-B780-CA148C9D8928}"/>
          </ac:graphicFrameMkLst>
        </pc:graphicFrameChg>
        <pc:picChg chg="del mod">
          <ac:chgData name="STEPANCHENKO, D. (Dmitrii)" userId="30c9d29d-ac41-46ff-b2be-c3f5dd1e26e1" providerId="ADAL" clId="{0D4D30D3-52F8-490C-8E8C-24DC58349B06}" dt="2022-12-20T16:18:08.958" v="988" actId="478"/>
          <ac:picMkLst>
            <pc:docMk/>
            <pc:sldMk cId="1987294738" sldId="2134806293"/>
            <ac:picMk id="3" creationId="{00000000-0000-0000-0000-000000000000}"/>
          </ac:picMkLst>
        </pc:picChg>
        <pc:picChg chg="add mod">
          <ac:chgData name="STEPANCHENKO, D. (Dmitrii)" userId="30c9d29d-ac41-46ff-b2be-c3f5dd1e26e1" providerId="ADAL" clId="{0D4D30D3-52F8-490C-8E8C-24DC58349B06}" dt="2022-12-20T16:18:15.786" v="990" actId="1076"/>
          <ac:picMkLst>
            <pc:docMk/>
            <pc:sldMk cId="1987294738" sldId="2134806293"/>
            <ac:picMk id="7" creationId="{DA22D0AB-A3F3-4384-959B-21FC75464F37}"/>
          </ac:picMkLst>
        </pc:picChg>
        <pc:picChg chg="add mod">
          <ac:chgData name="STEPANCHENKO, D. (Dmitrii)" userId="30c9d29d-ac41-46ff-b2be-c3f5dd1e26e1" providerId="ADAL" clId="{0D4D30D3-52F8-490C-8E8C-24DC58349B06}" dt="2022-12-20T16:26:45.244" v="1364" actId="14100"/>
          <ac:picMkLst>
            <pc:docMk/>
            <pc:sldMk cId="1987294738" sldId="2134806293"/>
            <ac:picMk id="9" creationId="{D4025C18-5336-4476-B071-56F399D22E06}"/>
          </ac:picMkLst>
        </pc:picChg>
      </pc:sldChg>
      <pc:sldChg chg="addSp delSp modSp del mod">
        <pc:chgData name="STEPANCHENKO, D. (Dmitrii)" userId="30c9d29d-ac41-46ff-b2be-c3f5dd1e26e1" providerId="ADAL" clId="{0D4D30D3-52F8-490C-8E8C-24DC58349B06}" dt="2022-12-22T12:31:20.916" v="3519" actId="47"/>
        <pc:sldMkLst>
          <pc:docMk/>
          <pc:sldMk cId="768855087" sldId="2134806294"/>
        </pc:sldMkLst>
        <pc:spChg chg="mod">
          <ac:chgData name="STEPANCHENKO, D. (Dmitrii)" userId="30c9d29d-ac41-46ff-b2be-c3f5dd1e26e1" providerId="ADAL" clId="{0D4D30D3-52F8-490C-8E8C-24DC58349B06}" dt="2022-12-20T16:42:06.943" v="1810" actId="20577"/>
          <ac:spMkLst>
            <pc:docMk/>
            <pc:sldMk cId="768855087" sldId="2134806294"/>
            <ac:spMk id="5" creationId="{81BD1123-3626-1C45-BF5B-1C1864FA8AFA}"/>
          </ac:spMkLst>
        </pc:spChg>
        <pc:spChg chg="add del mod">
          <ac:chgData name="STEPANCHENKO, D. (Dmitrii)" userId="30c9d29d-ac41-46ff-b2be-c3f5dd1e26e1" providerId="ADAL" clId="{0D4D30D3-52F8-490C-8E8C-24DC58349B06}" dt="2022-12-20T16:42:07.005" v="1812" actId="1076"/>
          <ac:spMkLst>
            <pc:docMk/>
            <pc:sldMk cId="768855087" sldId="2134806294"/>
            <ac:spMk id="6" creationId="{1CF3E204-C5F7-485E-8060-F34F0D0DEBBF}"/>
          </ac:spMkLst>
        </pc:spChg>
        <pc:picChg chg="add del">
          <ac:chgData name="STEPANCHENKO, D. (Dmitrii)" userId="30c9d29d-ac41-46ff-b2be-c3f5dd1e26e1" providerId="ADAL" clId="{0D4D30D3-52F8-490C-8E8C-24DC58349B06}" dt="2022-12-20T16:42:06.665" v="1802" actId="478"/>
          <ac:picMkLst>
            <pc:docMk/>
            <pc:sldMk cId="768855087" sldId="2134806294"/>
            <ac:picMk id="3" creationId="{00000000-0000-0000-0000-000000000000}"/>
          </ac:picMkLst>
        </pc:picChg>
      </pc:sldChg>
      <pc:sldChg chg="del">
        <pc:chgData name="STEPANCHENKO, D. (Dmitrii)" userId="30c9d29d-ac41-46ff-b2be-c3f5dd1e26e1" providerId="ADAL" clId="{0D4D30D3-52F8-490C-8E8C-24DC58349B06}" dt="2022-12-22T12:49:44.626" v="3689" actId="47"/>
        <pc:sldMkLst>
          <pc:docMk/>
          <pc:sldMk cId="2786211852" sldId="2134806295"/>
        </pc:sldMkLst>
      </pc:sldChg>
      <pc:sldChg chg="del">
        <pc:chgData name="STEPANCHENKO, D. (Dmitrii)" userId="30c9d29d-ac41-46ff-b2be-c3f5dd1e26e1" providerId="ADAL" clId="{0D4D30D3-52F8-490C-8E8C-24DC58349B06}" dt="2022-12-22T12:49:47.744" v="3690" actId="47"/>
        <pc:sldMkLst>
          <pc:docMk/>
          <pc:sldMk cId="4029849662" sldId="2134806296"/>
        </pc:sldMkLst>
      </pc:sldChg>
      <pc:sldChg chg="del ord">
        <pc:chgData name="STEPANCHENKO, D. (Dmitrii)" userId="30c9d29d-ac41-46ff-b2be-c3f5dd1e26e1" providerId="ADAL" clId="{0D4D30D3-52F8-490C-8E8C-24DC58349B06}" dt="2022-12-22T12:59:01.396" v="3959" actId="47"/>
        <pc:sldMkLst>
          <pc:docMk/>
          <pc:sldMk cId="159284185" sldId="2134806297"/>
        </pc:sldMkLst>
      </pc:sldChg>
      <pc:sldChg chg="del">
        <pc:chgData name="STEPANCHENKO, D. (Dmitrii)" userId="30c9d29d-ac41-46ff-b2be-c3f5dd1e26e1" providerId="ADAL" clId="{0D4D30D3-52F8-490C-8E8C-24DC58349B06}" dt="2022-12-22T12:59:01.396" v="3959" actId="47"/>
        <pc:sldMkLst>
          <pc:docMk/>
          <pc:sldMk cId="393586463" sldId="2134806299"/>
        </pc:sldMkLst>
      </pc:sldChg>
      <pc:sldChg chg="del">
        <pc:chgData name="STEPANCHENKO, D. (Dmitrii)" userId="30c9d29d-ac41-46ff-b2be-c3f5dd1e26e1" providerId="ADAL" clId="{0D4D30D3-52F8-490C-8E8C-24DC58349B06}" dt="2022-12-22T12:59:01.396" v="3959" actId="47"/>
        <pc:sldMkLst>
          <pc:docMk/>
          <pc:sldMk cId="3261876613" sldId="2134806300"/>
        </pc:sldMkLst>
      </pc:sldChg>
      <pc:sldChg chg="del">
        <pc:chgData name="STEPANCHENKO, D. (Dmitrii)" userId="30c9d29d-ac41-46ff-b2be-c3f5dd1e26e1" providerId="ADAL" clId="{0D4D30D3-52F8-490C-8E8C-24DC58349B06}" dt="2022-12-22T12:59:01.396" v="3959" actId="47"/>
        <pc:sldMkLst>
          <pc:docMk/>
          <pc:sldMk cId="1378941183" sldId="2134806301"/>
        </pc:sldMkLst>
      </pc:sldChg>
      <pc:sldChg chg="del">
        <pc:chgData name="STEPANCHENKO, D. (Dmitrii)" userId="30c9d29d-ac41-46ff-b2be-c3f5dd1e26e1" providerId="ADAL" clId="{0D4D30D3-52F8-490C-8E8C-24DC58349B06}" dt="2022-12-22T12:59:01.396" v="3959" actId="47"/>
        <pc:sldMkLst>
          <pc:docMk/>
          <pc:sldMk cId="751992006" sldId="2134806302"/>
        </pc:sldMkLst>
      </pc:sldChg>
      <pc:sldChg chg="del">
        <pc:chgData name="STEPANCHENKO, D. (Dmitrii)" userId="30c9d29d-ac41-46ff-b2be-c3f5dd1e26e1" providerId="ADAL" clId="{0D4D30D3-52F8-490C-8E8C-24DC58349B06}" dt="2022-12-22T12:59:01.396" v="3959" actId="47"/>
        <pc:sldMkLst>
          <pc:docMk/>
          <pc:sldMk cId="1179045703" sldId="2134806303"/>
        </pc:sldMkLst>
      </pc:sldChg>
      <pc:sldChg chg="del">
        <pc:chgData name="STEPANCHENKO, D. (Dmitrii)" userId="30c9d29d-ac41-46ff-b2be-c3f5dd1e26e1" providerId="ADAL" clId="{0D4D30D3-52F8-490C-8E8C-24DC58349B06}" dt="2022-12-22T12:59:01.396" v="3959" actId="47"/>
        <pc:sldMkLst>
          <pc:docMk/>
          <pc:sldMk cId="3935444841" sldId="2134806304"/>
        </pc:sldMkLst>
      </pc:sldChg>
      <pc:sldChg chg="del">
        <pc:chgData name="STEPANCHENKO, D. (Dmitrii)" userId="30c9d29d-ac41-46ff-b2be-c3f5dd1e26e1" providerId="ADAL" clId="{0D4D30D3-52F8-490C-8E8C-24DC58349B06}" dt="2022-12-22T12:59:01.396" v="3959" actId="47"/>
        <pc:sldMkLst>
          <pc:docMk/>
          <pc:sldMk cId="2553354500" sldId="2134806305"/>
        </pc:sldMkLst>
      </pc:sldChg>
      <pc:sldChg chg="del">
        <pc:chgData name="STEPANCHENKO, D. (Dmitrii)" userId="30c9d29d-ac41-46ff-b2be-c3f5dd1e26e1" providerId="ADAL" clId="{0D4D30D3-52F8-490C-8E8C-24DC58349B06}" dt="2022-12-22T12:59:01.396" v="3959" actId="47"/>
        <pc:sldMkLst>
          <pc:docMk/>
          <pc:sldMk cId="996619461" sldId="2134806306"/>
        </pc:sldMkLst>
      </pc:sldChg>
      <pc:sldChg chg="del">
        <pc:chgData name="STEPANCHENKO, D. (Dmitrii)" userId="30c9d29d-ac41-46ff-b2be-c3f5dd1e26e1" providerId="ADAL" clId="{0D4D30D3-52F8-490C-8E8C-24DC58349B06}" dt="2022-12-22T12:59:01.396" v="3959" actId="47"/>
        <pc:sldMkLst>
          <pc:docMk/>
          <pc:sldMk cId="4134940107" sldId="2134806307"/>
        </pc:sldMkLst>
      </pc:sldChg>
      <pc:sldChg chg="del">
        <pc:chgData name="STEPANCHENKO, D. (Dmitrii)" userId="30c9d29d-ac41-46ff-b2be-c3f5dd1e26e1" providerId="ADAL" clId="{0D4D30D3-52F8-490C-8E8C-24DC58349B06}" dt="2022-12-22T12:59:01.396" v="3959" actId="47"/>
        <pc:sldMkLst>
          <pc:docMk/>
          <pc:sldMk cId="2968128511" sldId="2134806308"/>
        </pc:sldMkLst>
      </pc:sldChg>
      <pc:sldChg chg="del">
        <pc:chgData name="STEPANCHENKO, D. (Dmitrii)" userId="30c9d29d-ac41-46ff-b2be-c3f5dd1e26e1" providerId="ADAL" clId="{0D4D30D3-52F8-490C-8E8C-24DC58349B06}" dt="2022-12-22T12:59:01.396" v="3959" actId="47"/>
        <pc:sldMkLst>
          <pc:docMk/>
          <pc:sldMk cId="1648649634" sldId="2134806309"/>
        </pc:sldMkLst>
      </pc:sldChg>
      <pc:sldChg chg="del">
        <pc:chgData name="STEPANCHENKO, D. (Dmitrii)" userId="30c9d29d-ac41-46ff-b2be-c3f5dd1e26e1" providerId="ADAL" clId="{0D4D30D3-52F8-490C-8E8C-24DC58349B06}" dt="2022-12-22T12:59:01.396" v="3959" actId="47"/>
        <pc:sldMkLst>
          <pc:docMk/>
          <pc:sldMk cId="3572535388" sldId="2134806310"/>
        </pc:sldMkLst>
      </pc:sldChg>
      <pc:sldChg chg="del">
        <pc:chgData name="STEPANCHENKO, D. (Dmitrii)" userId="30c9d29d-ac41-46ff-b2be-c3f5dd1e26e1" providerId="ADAL" clId="{0D4D30D3-52F8-490C-8E8C-24DC58349B06}" dt="2022-12-22T12:59:01.396" v="3959" actId="47"/>
        <pc:sldMkLst>
          <pc:docMk/>
          <pc:sldMk cId="1975556139" sldId="2134806311"/>
        </pc:sldMkLst>
      </pc:sldChg>
      <pc:sldChg chg="del">
        <pc:chgData name="STEPANCHENKO, D. (Dmitrii)" userId="30c9d29d-ac41-46ff-b2be-c3f5dd1e26e1" providerId="ADAL" clId="{0D4D30D3-52F8-490C-8E8C-24DC58349B06}" dt="2022-12-22T12:59:01.396" v="3959" actId="47"/>
        <pc:sldMkLst>
          <pc:docMk/>
          <pc:sldMk cId="3387427612" sldId="2134806312"/>
        </pc:sldMkLst>
      </pc:sldChg>
      <pc:sldChg chg="del">
        <pc:chgData name="STEPANCHENKO, D. (Dmitrii)" userId="30c9d29d-ac41-46ff-b2be-c3f5dd1e26e1" providerId="ADAL" clId="{0D4D30D3-52F8-490C-8E8C-24DC58349B06}" dt="2022-12-22T12:59:01.396" v="3959" actId="47"/>
        <pc:sldMkLst>
          <pc:docMk/>
          <pc:sldMk cId="2008184749" sldId="2134806313"/>
        </pc:sldMkLst>
      </pc:sldChg>
      <pc:sldChg chg="del">
        <pc:chgData name="STEPANCHENKO, D. (Dmitrii)" userId="30c9d29d-ac41-46ff-b2be-c3f5dd1e26e1" providerId="ADAL" clId="{0D4D30D3-52F8-490C-8E8C-24DC58349B06}" dt="2022-12-22T12:59:01.396" v="3959" actId="47"/>
        <pc:sldMkLst>
          <pc:docMk/>
          <pc:sldMk cId="2034877266" sldId="2134806315"/>
        </pc:sldMkLst>
      </pc:sldChg>
      <pc:sldChg chg="del">
        <pc:chgData name="STEPANCHENKO, D. (Dmitrii)" userId="30c9d29d-ac41-46ff-b2be-c3f5dd1e26e1" providerId="ADAL" clId="{0D4D30D3-52F8-490C-8E8C-24DC58349B06}" dt="2022-12-22T12:59:01.396" v="3959" actId="47"/>
        <pc:sldMkLst>
          <pc:docMk/>
          <pc:sldMk cId="1174979796" sldId="2134806316"/>
        </pc:sldMkLst>
      </pc:sldChg>
      <pc:sldChg chg="modSp mod">
        <pc:chgData name="STEPANCHENKO, D. (Dmitrii)" userId="30c9d29d-ac41-46ff-b2be-c3f5dd1e26e1" providerId="ADAL" clId="{0D4D30D3-52F8-490C-8E8C-24DC58349B06}" dt="2022-12-20T15:18:35.965" v="90" actId="20577"/>
        <pc:sldMkLst>
          <pc:docMk/>
          <pc:sldMk cId="860713518" sldId="2134806317"/>
        </pc:sldMkLst>
        <pc:spChg chg="mod">
          <ac:chgData name="STEPANCHENKO, D. (Dmitrii)" userId="30c9d29d-ac41-46ff-b2be-c3f5dd1e26e1" providerId="ADAL" clId="{0D4D30D3-52F8-490C-8E8C-24DC58349B06}" dt="2022-12-20T15:18:35.965" v="90" actId="20577"/>
          <ac:spMkLst>
            <pc:docMk/>
            <pc:sldMk cId="860713518" sldId="2134806317"/>
            <ac:spMk id="6" creationId="{CA023485-E4D0-17B0-F130-39357FD06C63}"/>
          </ac:spMkLst>
        </pc:spChg>
      </pc:sldChg>
      <pc:sldChg chg="modSp mod">
        <pc:chgData name="STEPANCHENKO, D. (Dmitrii)" userId="30c9d29d-ac41-46ff-b2be-c3f5dd1e26e1" providerId="ADAL" clId="{0D4D30D3-52F8-490C-8E8C-24DC58349B06}" dt="2022-12-23T13:40:46.057" v="6364" actId="20577"/>
        <pc:sldMkLst>
          <pc:docMk/>
          <pc:sldMk cId="2401638851" sldId="2134806322"/>
        </pc:sldMkLst>
        <pc:spChg chg="mod">
          <ac:chgData name="STEPANCHENKO, D. (Dmitrii)" userId="30c9d29d-ac41-46ff-b2be-c3f5dd1e26e1" providerId="ADAL" clId="{0D4D30D3-52F8-490C-8E8C-24DC58349B06}" dt="2022-12-23T13:40:46.057" v="6364" actId="20577"/>
          <ac:spMkLst>
            <pc:docMk/>
            <pc:sldMk cId="2401638851" sldId="2134806322"/>
            <ac:spMk id="2" creationId="{00000000-0000-0000-0000-000000000000}"/>
          </ac:spMkLst>
        </pc:spChg>
        <pc:spChg chg="mod">
          <ac:chgData name="STEPANCHENKO, D. (Dmitrii)" userId="30c9d29d-ac41-46ff-b2be-c3f5dd1e26e1" providerId="ADAL" clId="{0D4D30D3-52F8-490C-8E8C-24DC58349B06}" dt="2022-12-22T12:54:13.802" v="3846" actId="20577"/>
          <ac:spMkLst>
            <pc:docMk/>
            <pc:sldMk cId="2401638851" sldId="2134806322"/>
            <ac:spMk id="7" creationId="{00000000-0000-0000-0000-000000000000}"/>
          </ac:spMkLst>
        </pc:spChg>
      </pc:sldChg>
      <pc:sldChg chg="modSp mod">
        <pc:chgData name="STEPANCHENKO, D. (Dmitrii)" userId="30c9d29d-ac41-46ff-b2be-c3f5dd1e26e1" providerId="ADAL" clId="{0D4D30D3-52F8-490C-8E8C-24DC58349B06}" dt="2022-12-19T15:54:29.375" v="14" actId="14100"/>
        <pc:sldMkLst>
          <pc:docMk/>
          <pc:sldMk cId="2685767378" sldId="2134806323"/>
        </pc:sldMkLst>
        <pc:picChg chg="mod">
          <ac:chgData name="STEPANCHENKO, D. (Dmitrii)" userId="30c9d29d-ac41-46ff-b2be-c3f5dd1e26e1" providerId="ADAL" clId="{0D4D30D3-52F8-490C-8E8C-24DC58349B06}" dt="2022-12-19T15:54:29.375" v="14" actId="14100"/>
          <ac:picMkLst>
            <pc:docMk/>
            <pc:sldMk cId="2685767378" sldId="2134806323"/>
            <ac:picMk id="8" creationId="{859F07BF-952C-5522-F3B4-D6BDC8ADDAEF}"/>
          </ac:picMkLst>
        </pc:picChg>
      </pc:sldChg>
      <pc:sldChg chg="modSp add del mod modShow">
        <pc:chgData name="STEPANCHENKO, D. (Dmitrii)" userId="30c9d29d-ac41-46ff-b2be-c3f5dd1e26e1" providerId="ADAL" clId="{0D4D30D3-52F8-490C-8E8C-24DC58349B06}" dt="2022-12-20T15:38:15.334" v="98" actId="47"/>
        <pc:sldMkLst>
          <pc:docMk/>
          <pc:sldMk cId="4070705944" sldId="2134806325"/>
        </pc:sldMkLst>
        <pc:spChg chg="mod">
          <ac:chgData name="STEPANCHENKO, D. (Dmitrii)" userId="30c9d29d-ac41-46ff-b2be-c3f5dd1e26e1" providerId="ADAL" clId="{0D4D30D3-52F8-490C-8E8C-24DC58349B06}" dt="2022-12-19T15:09:16.360" v="5" actId="20577"/>
          <ac:spMkLst>
            <pc:docMk/>
            <pc:sldMk cId="4070705944" sldId="2134806325"/>
            <ac:spMk id="5" creationId="{81BD1123-3626-1C45-BF5B-1C1864FA8AFA}"/>
          </ac:spMkLst>
        </pc:spChg>
      </pc:sldChg>
      <pc:sldChg chg="addSp delSp modSp add del mod ord">
        <pc:chgData name="STEPANCHENKO, D. (Dmitrii)" userId="30c9d29d-ac41-46ff-b2be-c3f5dd1e26e1" providerId="ADAL" clId="{0D4D30D3-52F8-490C-8E8C-24DC58349B06}" dt="2022-12-31T09:54:41.024" v="7683" actId="20577"/>
        <pc:sldMkLst>
          <pc:docMk/>
          <pc:sldMk cId="521703837" sldId="2134806326"/>
        </pc:sldMkLst>
        <pc:spChg chg="mod">
          <ac:chgData name="STEPANCHENKO, D. (Dmitrii)" userId="30c9d29d-ac41-46ff-b2be-c3f5dd1e26e1" providerId="ADAL" clId="{0D4D30D3-52F8-490C-8E8C-24DC58349B06}" dt="2022-12-22T10:23:47.305" v="2402" actId="20577"/>
          <ac:spMkLst>
            <pc:docMk/>
            <pc:sldMk cId="521703837" sldId="2134806326"/>
            <ac:spMk id="5" creationId="{81BD1123-3626-1C45-BF5B-1C1864FA8AFA}"/>
          </ac:spMkLst>
        </pc:spChg>
        <pc:spChg chg="mod">
          <ac:chgData name="STEPANCHENKO, D. (Dmitrii)" userId="30c9d29d-ac41-46ff-b2be-c3f5dd1e26e1" providerId="ADAL" clId="{0D4D30D3-52F8-490C-8E8C-24DC58349B06}" dt="2022-12-22T10:27:56.484" v="2466" actId="20577"/>
          <ac:spMkLst>
            <pc:docMk/>
            <pc:sldMk cId="521703837" sldId="2134806326"/>
            <ac:spMk id="6" creationId="{55DC015C-12FE-A55C-DF36-68759984506F}"/>
          </ac:spMkLst>
        </pc:spChg>
        <pc:spChg chg="mod">
          <ac:chgData name="STEPANCHENKO, D. (Dmitrii)" userId="30c9d29d-ac41-46ff-b2be-c3f5dd1e26e1" providerId="ADAL" clId="{0D4D30D3-52F8-490C-8E8C-24DC58349B06}" dt="2022-12-31T09:35:49.419" v="7368" actId="1036"/>
          <ac:spMkLst>
            <pc:docMk/>
            <pc:sldMk cId="521703837" sldId="2134806326"/>
            <ac:spMk id="8" creationId="{9EBC456F-B5A9-419C-BE04-72F06FDA7584}"/>
          </ac:spMkLst>
        </pc:spChg>
        <pc:spChg chg="add del mod">
          <ac:chgData name="STEPANCHENKO, D. (Dmitrii)" userId="30c9d29d-ac41-46ff-b2be-c3f5dd1e26e1" providerId="ADAL" clId="{0D4D30D3-52F8-490C-8E8C-24DC58349B06}" dt="2022-12-31T09:54:41.024" v="7683" actId="20577"/>
          <ac:spMkLst>
            <pc:docMk/>
            <pc:sldMk cId="521703837" sldId="2134806326"/>
            <ac:spMk id="9" creationId="{5EC41978-1730-74B4-27A0-640FFDB857C0}"/>
          </ac:spMkLst>
        </pc:spChg>
        <pc:spChg chg="add del mod">
          <ac:chgData name="STEPANCHENKO, D. (Dmitrii)" userId="30c9d29d-ac41-46ff-b2be-c3f5dd1e26e1" providerId="ADAL" clId="{0D4D30D3-52F8-490C-8E8C-24DC58349B06}" dt="2022-12-22T10:58:33.416" v="2962" actId="478"/>
          <ac:spMkLst>
            <pc:docMk/>
            <pc:sldMk cId="521703837" sldId="2134806326"/>
            <ac:spMk id="10" creationId="{806A6482-8A70-492E-A503-E30CF4A1A76F}"/>
          </ac:spMkLst>
        </pc:spChg>
        <pc:spChg chg="add mod">
          <ac:chgData name="STEPANCHENKO, D. (Dmitrii)" userId="30c9d29d-ac41-46ff-b2be-c3f5dd1e26e1" providerId="ADAL" clId="{0D4D30D3-52F8-490C-8E8C-24DC58349B06}" dt="2022-12-31T09:35:49.419" v="7368" actId="1036"/>
          <ac:spMkLst>
            <pc:docMk/>
            <pc:sldMk cId="521703837" sldId="2134806326"/>
            <ac:spMk id="12" creationId="{620F6558-3CC6-4F30-B3B7-548CD84FF264}"/>
          </ac:spMkLst>
        </pc:spChg>
        <pc:spChg chg="add mod">
          <ac:chgData name="STEPANCHENKO, D. (Dmitrii)" userId="30c9d29d-ac41-46ff-b2be-c3f5dd1e26e1" providerId="ADAL" clId="{0D4D30D3-52F8-490C-8E8C-24DC58349B06}" dt="2022-12-31T09:36:27.774" v="7376" actId="14100"/>
          <ac:spMkLst>
            <pc:docMk/>
            <pc:sldMk cId="521703837" sldId="2134806326"/>
            <ac:spMk id="13" creationId="{16BA56AD-B511-423F-BF15-E0DDC142DC6C}"/>
          </ac:spMkLst>
        </pc:spChg>
        <pc:graphicFrameChg chg="mod">
          <ac:chgData name="STEPANCHENKO, D. (Dmitrii)" userId="30c9d29d-ac41-46ff-b2be-c3f5dd1e26e1" providerId="ADAL" clId="{0D4D30D3-52F8-490C-8E8C-24DC58349B06}" dt="2022-12-31T09:35:49.419" v="7368" actId="1036"/>
          <ac:graphicFrameMkLst>
            <pc:docMk/>
            <pc:sldMk cId="521703837" sldId="2134806326"/>
            <ac:graphicFrameMk id="4" creationId="{11CFC757-5727-5D67-8831-9EC4CE6B6F84}"/>
          </ac:graphicFrameMkLst>
        </pc:graphicFrameChg>
        <pc:graphicFrameChg chg="mod">
          <ac:chgData name="STEPANCHENKO, D. (Dmitrii)" userId="30c9d29d-ac41-46ff-b2be-c3f5dd1e26e1" providerId="ADAL" clId="{0D4D30D3-52F8-490C-8E8C-24DC58349B06}" dt="2022-12-31T09:35:49.419" v="7368" actId="1036"/>
          <ac:graphicFrameMkLst>
            <pc:docMk/>
            <pc:sldMk cId="521703837" sldId="2134806326"/>
            <ac:graphicFrameMk id="11" creationId="{B2FF438D-1B50-288E-3939-8606CECB8F6D}"/>
          </ac:graphicFrameMkLst>
        </pc:graphicFrameChg>
        <pc:picChg chg="add mod">
          <ac:chgData name="STEPANCHENKO, D. (Dmitrii)" userId="30c9d29d-ac41-46ff-b2be-c3f5dd1e26e1" providerId="ADAL" clId="{0D4D30D3-52F8-490C-8E8C-24DC58349B06}" dt="2022-12-31T09:35:49.419" v="7368" actId="1036"/>
          <ac:picMkLst>
            <pc:docMk/>
            <pc:sldMk cId="521703837" sldId="2134806326"/>
            <ac:picMk id="7" creationId="{8625A218-042A-4189-9755-9777A62C5EA6}"/>
          </ac:picMkLst>
        </pc:picChg>
      </pc:sldChg>
      <pc:sldChg chg="addSp delSp modSp add mod">
        <pc:chgData name="STEPANCHENKO, D. (Dmitrii)" userId="30c9d29d-ac41-46ff-b2be-c3f5dd1e26e1" providerId="ADAL" clId="{0D4D30D3-52F8-490C-8E8C-24DC58349B06}" dt="2022-12-22T10:01:56.921" v="2369" actId="20577"/>
        <pc:sldMkLst>
          <pc:docMk/>
          <pc:sldMk cId="1383993538" sldId="2134806327"/>
        </pc:sldMkLst>
        <pc:spChg chg="mod">
          <ac:chgData name="STEPANCHENKO, D. (Dmitrii)" userId="30c9d29d-ac41-46ff-b2be-c3f5dd1e26e1" providerId="ADAL" clId="{0D4D30D3-52F8-490C-8E8C-24DC58349B06}" dt="2022-12-22T09:45:58.758" v="1964" actId="20577"/>
          <ac:spMkLst>
            <pc:docMk/>
            <pc:sldMk cId="1383993538" sldId="2134806327"/>
            <ac:spMk id="5" creationId="{81BD1123-3626-1C45-BF5B-1C1864FA8AFA}"/>
          </ac:spMkLst>
        </pc:spChg>
        <pc:spChg chg="add mod">
          <ac:chgData name="STEPANCHENKO, D. (Dmitrii)" userId="30c9d29d-ac41-46ff-b2be-c3f5dd1e26e1" providerId="ADAL" clId="{0D4D30D3-52F8-490C-8E8C-24DC58349B06}" dt="2022-12-22T10:01:56.921" v="2369" actId="20577"/>
          <ac:spMkLst>
            <pc:docMk/>
            <pc:sldMk cId="1383993538" sldId="2134806327"/>
            <ac:spMk id="8" creationId="{5DECFFF7-4DDD-4DFE-AF09-04E3986FCD1F}"/>
          </ac:spMkLst>
        </pc:spChg>
        <pc:spChg chg="add mod">
          <ac:chgData name="STEPANCHENKO, D. (Dmitrii)" userId="30c9d29d-ac41-46ff-b2be-c3f5dd1e26e1" providerId="ADAL" clId="{0D4D30D3-52F8-490C-8E8C-24DC58349B06}" dt="2022-12-22T10:01:17.126" v="2349" actId="1076"/>
          <ac:spMkLst>
            <pc:docMk/>
            <pc:sldMk cId="1383993538" sldId="2134806327"/>
            <ac:spMk id="10" creationId="{52B6EE28-6B94-4077-8B54-07A0416DBEFA}"/>
          </ac:spMkLst>
        </pc:spChg>
        <pc:spChg chg="del">
          <ac:chgData name="STEPANCHENKO, D. (Dmitrii)" userId="30c9d29d-ac41-46ff-b2be-c3f5dd1e26e1" providerId="ADAL" clId="{0D4D30D3-52F8-490C-8E8C-24DC58349B06}" dt="2022-12-20T16:34:44.640" v="1400" actId="478"/>
          <ac:spMkLst>
            <pc:docMk/>
            <pc:sldMk cId="1383993538" sldId="2134806327"/>
            <ac:spMk id="11" creationId="{4A89C080-E02A-4114-9A18-64ED1A28D56E}"/>
          </ac:spMkLst>
        </pc:spChg>
        <pc:spChg chg="del">
          <ac:chgData name="STEPANCHENKO, D. (Dmitrii)" userId="30c9d29d-ac41-46ff-b2be-c3f5dd1e26e1" providerId="ADAL" clId="{0D4D30D3-52F8-490C-8E8C-24DC58349B06}" dt="2022-12-20T16:34:44.640" v="1400" actId="478"/>
          <ac:spMkLst>
            <pc:docMk/>
            <pc:sldMk cId="1383993538" sldId="2134806327"/>
            <ac:spMk id="12" creationId="{5BECD0C1-26C4-4E02-BB63-25E01F272DF2}"/>
          </ac:spMkLst>
        </pc:spChg>
        <pc:spChg chg="del">
          <ac:chgData name="STEPANCHENKO, D. (Dmitrii)" userId="30c9d29d-ac41-46ff-b2be-c3f5dd1e26e1" providerId="ADAL" clId="{0D4D30D3-52F8-490C-8E8C-24DC58349B06}" dt="2022-12-20T16:34:44.640" v="1400" actId="478"/>
          <ac:spMkLst>
            <pc:docMk/>
            <pc:sldMk cId="1383993538" sldId="2134806327"/>
            <ac:spMk id="13" creationId="{4D660AA7-3162-4D46-B4E1-8000203E46DB}"/>
          </ac:spMkLst>
        </pc:spChg>
        <pc:graphicFrameChg chg="add del mod modGraphic">
          <ac:chgData name="STEPANCHENKO, D. (Dmitrii)" userId="30c9d29d-ac41-46ff-b2be-c3f5dd1e26e1" providerId="ADAL" clId="{0D4D30D3-52F8-490C-8E8C-24DC58349B06}" dt="2022-12-20T16:36:16.328" v="1510" actId="478"/>
          <ac:graphicFrameMkLst>
            <pc:docMk/>
            <pc:sldMk cId="1383993538" sldId="2134806327"/>
            <ac:graphicFrameMk id="10" creationId="{3310C69A-4A59-409C-B749-7558BA926B2A}"/>
          </ac:graphicFrameMkLst>
        </pc:graphicFrameChg>
        <pc:graphicFrameChg chg="add del mod modGraphic">
          <ac:chgData name="STEPANCHENKO, D. (Dmitrii)" userId="30c9d29d-ac41-46ff-b2be-c3f5dd1e26e1" providerId="ADAL" clId="{0D4D30D3-52F8-490C-8E8C-24DC58349B06}" dt="2022-12-22T09:45:47.617" v="1919" actId="478"/>
          <ac:graphicFrameMkLst>
            <pc:docMk/>
            <pc:sldMk cId="1383993538" sldId="2134806327"/>
            <ac:graphicFrameMk id="14" creationId="{C5F7A9A8-78D1-454D-96FA-2A934AA6F49F}"/>
          </ac:graphicFrameMkLst>
        </pc:graphicFrameChg>
        <pc:picChg chg="add del mod">
          <ac:chgData name="STEPANCHENKO, D. (Dmitrii)" userId="30c9d29d-ac41-46ff-b2be-c3f5dd1e26e1" providerId="ADAL" clId="{0D4D30D3-52F8-490C-8E8C-24DC58349B06}" dt="2022-12-22T09:48:24.263" v="1970" actId="478"/>
          <ac:picMkLst>
            <pc:docMk/>
            <pc:sldMk cId="1383993538" sldId="2134806327"/>
            <ac:picMk id="6" creationId="{6325DA81-834F-46E0-85C1-8409AF1941DA}"/>
          </ac:picMkLst>
        </pc:picChg>
        <pc:picChg chg="add del mod">
          <ac:chgData name="STEPANCHENKO, D. (Dmitrii)" userId="30c9d29d-ac41-46ff-b2be-c3f5dd1e26e1" providerId="ADAL" clId="{0D4D30D3-52F8-490C-8E8C-24DC58349B06}" dt="2022-12-22T09:48:24.263" v="1970" actId="478"/>
          <ac:picMkLst>
            <pc:docMk/>
            <pc:sldMk cId="1383993538" sldId="2134806327"/>
            <ac:picMk id="7" creationId="{2244AFB4-AA32-4AF0-B985-4ABE4B9B2953}"/>
          </ac:picMkLst>
        </pc:picChg>
        <pc:picChg chg="del">
          <ac:chgData name="STEPANCHENKO, D. (Dmitrii)" userId="30c9d29d-ac41-46ff-b2be-c3f5dd1e26e1" providerId="ADAL" clId="{0D4D30D3-52F8-490C-8E8C-24DC58349B06}" dt="2022-12-20T16:34:44.640" v="1400" actId="478"/>
          <ac:picMkLst>
            <pc:docMk/>
            <pc:sldMk cId="1383993538" sldId="2134806327"/>
            <ac:picMk id="7" creationId="{DA22D0AB-A3F3-4384-959B-21FC75464F37}"/>
          </ac:picMkLst>
        </pc:picChg>
        <pc:picChg chg="del">
          <ac:chgData name="STEPANCHENKO, D. (Dmitrii)" userId="30c9d29d-ac41-46ff-b2be-c3f5dd1e26e1" providerId="ADAL" clId="{0D4D30D3-52F8-490C-8E8C-24DC58349B06}" dt="2022-12-20T16:34:44.640" v="1400" actId="478"/>
          <ac:picMkLst>
            <pc:docMk/>
            <pc:sldMk cId="1383993538" sldId="2134806327"/>
            <ac:picMk id="9" creationId="{D4025C18-5336-4476-B071-56F399D22E06}"/>
          </ac:picMkLst>
        </pc:picChg>
      </pc:sldChg>
      <pc:sldChg chg="new del">
        <pc:chgData name="STEPANCHENKO, D. (Dmitrii)" userId="30c9d29d-ac41-46ff-b2be-c3f5dd1e26e1" providerId="ADAL" clId="{0D4D30D3-52F8-490C-8E8C-24DC58349B06}" dt="2022-12-22T09:45:41.975" v="1917" actId="47"/>
        <pc:sldMkLst>
          <pc:docMk/>
          <pc:sldMk cId="1508052118" sldId="2134806328"/>
        </pc:sldMkLst>
      </pc:sldChg>
      <pc:sldChg chg="add del">
        <pc:chgData name="STEPANCHENKO, D. (Dmitrii)" userId="30c9d29d-ac41-46ff-b2be-c3f5dd1e26e1" providerId="ADAL" clId="{0D4D30D3-52F8-490C-8E8C-24DC58349B06}" dt="2022-12-20T16:34:46.210" v="1402"/>
        <pc:sldMkLst>
          <pc:docMk/>
          <pc:sldMk cId="2630810749" sldId="2134806328"/>
        </pc:sldMkLst>
      </pc:sldChg>
      <pc:sldChg chg="modSp add mod ord">
        <pc:chgData name="STEPANCHENKO, D. (Dmitrii)" userId="30c9d29d-ac41-46ff-b2be-c3f5dd1e26e1" providerId="ADAL" clId="{0D4D30D3-52F8-490C-8E8C-24DC58349B06}" dt="2022-12-23T13:41:21.500" v="6394" actId="20577"/>
        <pc:sldMkLst>
          <pc:docMk/>
          <pc:sldMk cId="3352262577" sldId="2134806328"/>
        </pc:sldMkLst>
        <pc:spChg chg="mod">
          <ac:chgData name="STEPANCHENKO, D. (Dmitrii)" userId="30c9d29d-ac41-46ff-b2be-c3f5dd1e26e1" providerId="ADAL" clId="{0D4D30D3-52F8-490C-8E8C-24DC58349B06}" dt="2022-12-23T13:41:21.500" v="6394" actId="20577"/>
          <ac:spMkLst>
            <pc:docMk/>
            <pc:sldMk cId="3352262577" sldId="2134806328"/>
            <ac:spMk id="5" creationId="{81BD1123-3626-1C45-BF5B-1C1864FA8AFA}"/>
          </ac:spMkLst>
        </pc:spChg>
        <pc:graphicFrameChg chg="mod modGraphic">
          <ac:chgData name="STEPANCHENKO, D. (Dmitrii)" userId="30c9d29d-ac41-46ff-b2be-c3f5dd1e26e1" providerId="ADAL" clId="{0D4D30D3-52F8-490C-8E8C-24DC58349B06}" dt="2022-12-22T12:30:47.127" v="3518" actId="14100"/>
          <ac:graphicFrameMkLst>
            <pc:docMk/>
            <pc:sldMk cId="3352262577" sldId="2134806328"/>
            <ac:graphicFrameMk id="14" creationId="{C5F7A9A8-78D1-454D-96FA-2A934AA6F49F}"/>
          </ac:graphicFrameMkLst>
        </pc:graphicFrameChg>
      </pc:sldChg>
      <pc:sldChg chg="addSp delSp modSp add mod ord">
        <pc:chgData name="STEPANCHENKO, D. (Dmitrii)" userId="30c9d29d-ac41-46ff-b2be-c3f5dd1e26e1" providerId="ADAL" clId="{0D4D30D3-52F8-490C-8E8C-24DC58349B06}" dt="2022-12-22T12:17:14.334" v="3143" actId="6549"/>
        <pc:sldMkLst>
          <pc:docMk/>
          <pc:sldMk cId="3274818839" sldId="2134806329"/>
        </pc:sldMkLst>
        <pc:spChg chg="mod">
          <ac:chgData name="STEPANCHENKO, D. (Dmitrii)" userId="30c9d29d-ac41-46ff-b2be-c3f5dd1e26e1" providerId="ADAL" clId="{0D4D30D3-52F8-490C-8E8C-24DC58349B06}" dt="2022-12-22T10:24:08.500" v="2409" actId="20577"/>
          <ac:spMkLst>
            <pc:docMk/>
            <pc:sldMk cId="3274818839" sldId="2134806329"/>
            <ac:spMk id="5" creationId="{81BD1123-3626-1C45-BF5B-1C1864FA8AFA}"/>
          </ac:spMkLst>
        </pc:spChg>
        <pc:spChg chg="add mod">
          <ac:chgData name="STEPANCHENKO, D. (Dmitrii)" userId="30c9d29d-ac41-46ff-b2be-c3f5dd1e26e1" providerId="ADAL" clId="{0D4D30D3-52F8-490C-8E8C-24DC58349B06}" dt="2022-12-22T12:17:14.334" v="3143" actId="6549"/>
          <ac:spMkLst>
            <pc:docMk/>
            <pc:sldMk cId="3274818839" sldId="2134806329"/>
            <ac:spMk id="7" creationId="{05E61C94-C306-46A7-941B-5C78E82C67F8}"/>
          </ac:spMkLst>
        </pc:spChg>
        <pc:spChg chg="add mod">
          <ac:chgData name="STEPANCHENKO, D. (Dmitrii)" userId="30c9d29d-ac41-46ff-b2be-c3f5dd1e26e1" providerId="ADAL" clId="{0D4D30D3-52F8-490C-8E8C-24DC58349B06}" dt="2022-12-22T10:56:57.999" v="2881" actId="20577"/>
          <ac:spMkLst>
            <pc:docMk/>
            <pc:sldMk cId="3274818839" sldId="2134806329"/>
            <ac:spMk id="8" creationId="{02AC0575-0834-48E1-901C-A185C8F7BA93}"/>
          </ac:spMkLst>
        </pc:spChg>
        <pc:spChg chg="add mod">
          <ac:chgData name="STEPANCHENKO, D. (Dmitrii)" userId="30c9d29d-ac41-46ff-b2be-c3f5dd1e26e1" providerId="ADAL" clId="{0D4D30D3-52F8-490C-8E8C-24DC58349B06}" dt="2022-12-22T10:28:02.702" v="2468"/>
          <ac:spMkLst>
            <pc:docMk/>
            <pc:sldMk cId="3274818839" sldId="2134806329"/>
            <ac:spMk id="9" creationId="{D9CA27D6-38EA-4E0D-9C2A-932B2942330F}"/>
          </ac:spMkLst>
        </pc:spChg>
        <pc:graphicFrameChg chg="del">
          <ac:chgData name="STEPANCHENKO, D. (Dmitrii)" userId="30c9d29d-ac41-46ff-b2be-c3f5dd1e26e1" providerId="ADAL" clId="{0D4D30D3-52F8-490C-8E8C-24DC58349B06}" dt="2022-12-22T10:19:53.785" v="2382" actId="478"/>
          <ac:graphicFrameMkLst>
            <pc:docMk/>
            <pc:sldMk cId="3274818839" sldId="2134806329"/>
            <ac:graphicFrameMk id="14" creationId="{C5F7A9A8-78D1-454D-96FA-2A934AA6F49F}"/>
          </ac:graphicFrameMkLst>
        </pc:graphicFrameChg>
        <pc:picChg chg="add del">
          <ac:chgData name="STEPANCHENKO, D. (Dmitrii)" userId="30c9d29d-ac41-46ff-b2be-c3f5dd1e26e1" providerId="ADAL" clId="{0D4D30D3-52F8-490C-8E8C-24DC58349B06}" dt="2022-12-22T10:26:03.226" v="2411" actId="478"/>
          <ac:picMkLst>
            <pc:docMk/>
            <pc:sldMk cId="3274818839" sldId="2134806329"/>
            <ac:picMk id="4" creationId="{FCE43CE5-2785-46DD-8F61-6B883E176F83}"/>
          </ac:picMkLst>
        </pc:picChg>
      </pc:sldChg>
      <pc:sldChg chg="addSp delSp modSp add mod ord">
        <pc:chgData name="STEPANCHENKO, D. (Dmitrii)" userId="30c9d29d-ac41-46ff-b2be-c3f5dd1e26e1" providerId="ADAL" clId="{0D4D30D3-52F8-490C-8E8C-24DC58349B06}" dt="2022-12-22T13:14:00.894" v="4032" actId="478"/>
        <pc:sldMkLst>
          <pc:docMk/>
          <pc:sldMk cId="3089211194" sldId="2134806330"/>
        </pc:sldMkLst>
        <pc:spChg chg="mod">
          <ac:chgData name="STEPANCHENKO, D. (Dmitrii)" userId="30c9d29d-ac41-46ff-b2be-c3f5dd1e26e1" providerId="ADAL" clId="{0D4D30D3-52F8-490C-8E8C-24DC58349B06}" dt="2022-12-22T13:13:55.824" v="4031" actId="20577"/>
          <ac:spMkLst>
            <pc:docMk/>
            <pc:sldMk cId="3089211194" sldId="2134806330"/>
            <ac:spMk id="5" creationId="{81BD1123-3626-1C45-BF5B-1C1864FA8AFA}"/>
          </ac:spMkLst>
        </pc:spChg>
        <pc:spChg chg="add del mod">
          <ac:chgData name="STEPANCHENKO, D. (Dmitrii)" userId="30c9d29d-ac41-46ff-b2be-c3f5dd1e26e1" providerId="ADAL" clId="{0D4D30D3-52F8-490C-8E8C-24DC58349B06}" dt="2022-12-22T13:14:00.894" v="4032" actId="478"/>
          <ac:spMkLst>
            <pc:docMk/>
            <pc:sldMk cId="3089211194" sldId="2134806330"/>
            <ac:spMk id="15" creationId="{AEDD12B7-EF75-4635-9E48-3DA9BFBD6BB8}"/>
          </ac:spMkLst>
        </pc:spChg>
        <pc:spChg chg="del">
          <ac:chgData name="STEPANCHENKO, D. (Dmitrii)" userId="30c9d29d-ac41-46ff-b2be-c3f5dd1e26e1" providerId="ADAL" clId="{0D4D30D3-52F8-490C-8E8C-24DC58349B06}" dt="2022-12-22T13:14:00.894" v="4032" actId="478"/>
          <ac:spMkLst>
            <pc:docMk/>
            <pc:sldMk cId="3089211194" sldId="2134806330"/>
            <ac:spMk id="17" creationId="{BD69FFC3-98E2-981F-8355-D6A1F4013CC8}"/>
          </ac:spMkLst>
        </pc:spChg>
        <pc:spChg chg="del">
          <ac:chgData name="STEPANCHENKO, D. (Dmitrii)" userId="30c9d29d-ac41-46ff-b2be-c3f5dd1e26e1" providerId="ADAL" clId="{0D4D30D3-52F8-490C-8E8C-24DC58349B06}" dt="2022-12-22T12:42:28.808" v="3607" actId="478"/>
          <ac:spMkLst>
            <pc:docMk/>
            <pc:sldMk cId="3089211194" sldId="2134806330"/>
            <ac:spMk id="28" creationId="{680C9532-9059-68DF-88F9-42B190D45C92}"/>
          </ac:spMkLst>
        </pc:spChg>
        <pc:graphicFrameChg chg="del">
          <ac:chgData name="STEPANCHENKO, D. (Dmitrii)" userId="30c9d29d-ac41-46ff-b2be-c3f5dd1e26e1" providerId="ADAL" clId="{0D4D30D3-52F8-490C-8E8C-24DC58349B06}" dt="2022-12-22T12:42:28.808" v="3607" actId="478"/>
          <ac:graphicFrameMkLst>
            <pc:docMk/>
            <pc:sldMk cId="3089211194" sldId="2134806330"/>
            <ac:graphicFrameMk id="29" creationId="{D105480F-C095-4C97-9245-C3CB74424EC1}"/>
          </ac:graphicFrameMkLst>
        </pc:graphicFrameChg>
        <pc:picChg chg="add del mod">
          <ac:chgData name="STEPANCHENKO, D. (Dmitrii)" userId="30c9d29d-ac41-46ff-b2be-c3f5dd1e26e1" providerId="ADAL" clId="{0D4D30D3-52F8-490C-8E8C-24DC58349B06}" dt="2022-12-22T13:14:00.894" v="4032" actId="478"/>
          <ac:picMkLst>
            <pc:docMk/>
            <pc:sldMk cId="3089211194" sldId="2134806330"/>
            <ac:picMk id="4" creationId="{39109EAB-2ACB-4AC2-AA98-9595D9FA2C8D}"/>
          </ac:picMkLst>
        </pc:picChg>
        <pc:picChg chg="add del mod">
          <ac:chgData name="STEPANCHENKO, D. (Dmitrii)" userId="30c9d29d-ac41-46ff-b2be-c3f5dd1e26e1" providerId="ADAL" clId="{0D4D30D3-52F8-490C-8E8C-24DC58349B06}" dt="2022-12-22T12:44:48.015" v="3650" actId="478"/>
          <ac:picMkLst>
            <pc:docMk/>
            <pc:sldMk cId="3089211194" sldId="2134806330"/>
            <ac:picMk id="7" creationId="{7E473968-9248-4AAC-B185-175C0DEE9F63}"/>
          </ac:picMkLst>
        </pc:picChg>
        <pc:picChg chg="add del mod">
          <ac:chgData name="STEPANCHENKO, D. (Dmitrii)" userId="30c9d29d-ac41-46ff-b2be-c3f5dd1e26e1" providerId="ADAL" clId="{0D4D30D3-52F8-490C-8E8C-24DC58349B06}" dt="2022-12-22T12:46:54.387" v="3668" actId="478"/>
          <ac:picMkLst>
            <pc:docMk/>
            <pc:sldMk cId="3089211194" sldId="2134806330"/>
            <ac:picMk id="8" creationId="{1264D458-508B-4F86-A3FA-1CF6C406C5A9}"/>
          </ac:picMkLst>
        </pc:picChg>
        <pc:picChg chg="add del mod">
          <ac:chgData name="STEPANCHENKO, D. (Dmitrii)" userId="30c9d29d-ac41-46ff-b2be-c3f5dd1e26e1" providerId="ADAL" clId="{0D4D30D3-52F8-490C-8E8C-24DC58349B06}" dt="2022-12-22T12:46:56.283" v="3669" actId="478"/>
          <ac:picMkLst>
            <pc:docMk/>
            <pc:sldMk cId="3089211194" sldId="2134806330"/>
            <ac:picMk id="9" creationId="{B63965E4-7809-411A-A056-94F8D612204B}"/>
          </ac:picMkLst>
        </pc:picChg>
        <pc:picChg chg="add del mod">
          <ac:chgData name="STEPANCHENKO, D. (Dmitrii)" userId="30c9d29d-ac41-46ff-b2be-c3f5dd1e26e1" providerId="ADAL" clId="{0D4D30D3-52F8-490C-8E8C-24DC58349B06}" dt="2022-12-22T13:14:00.894" v="4032" actId="478"/>
          <ac:picMkLst>
            <pc:docMk/>
            <pc:sldMk cId="3089211194" sldId="2134806330"/>
            <ac:picMk id="10" creationId="{CC7C69E1-721E-4E62-ABFA-548AF492420D}"/>
          </ac:picMkLst>
        </pc:picChg>
      </pc:sldChg>
      <pc:sldChg chg="modSp add mod">
        <pc:chgData name="STEPANCHENKO, D. (Dmitrii)" userId="30c9d29d-ac41-46ff-b2be-c3f5dd1e26e1" providerId="ADAL" clId="{0D4D30D3-52F8-490C-8E8C-24DC58349B06}" dt="2022-12-22T12:58:31.559" v="3958" actId="20577"/>
        <pc:sldMkLst>
          <pc:docMk/>
          <pc:sldMk cId="4127393553" sldId="2134806331"/>
        </pc:sldMkLst>
        <pc:spChg chg="mod">
          <ac:chgData name="STEPANCHENKO, D. (Dmitrii)" userId="30c9d29d-ac41-46ff-b2be-c3f5dd1e26e1" providerId="ADAL" clId="{0D4D30D3-52F8-490C-8E8C-24DC58349B06}" dt="2022-12-22T12:58:31.559" v="3958" actId="20577"/>
          <ac:spMkLst>
            <pc:docMk/>
            <pc:sldMk cId="4127393553" sldId="2134806331"/>
            <ac:spMk id="2" creationId="{00000000-0000-0000-0000-000000000000}"/>
          </ac:spMkLst>
        </pc:spChg>
        <pc:spChg chg="mod">
          <ac:chgData name="STEPANCHENKO, D. (Dmitrii)" userId="30c9d29d-ac41-46ff-b2be-c3f5dd1e26e1" providerId="ADAL" clId="{0D4D30D3-52F8-490C-8E8C-24DC58349B06}" dt="2022-12-22T12:50:25.559" v="3712" actId="20577"/>
          <ac:spMkLst>
            <pc:docMk/>
            <pc:sldMk cId="4127393553" sldId="2134806331"/>
            <ac:spMk id="7" creationId="{00000000-0000-0000-0000-000000000000}"/>
          </ac:spMkLst>
        </pc:spChg>
      </pc:sldChg>
      <pc:sldChg chg="addSp delSp modSp add mod">
        <pc:chgData name="STEPANCHENKO, D. (Dmitrii)" userId="30c9d29d-ac41-46ff-b2be-c3f5dd1e26e1" providerId="ADAL" clId="{0D4D30D3-52F8-490C-8E8C-24DC58349B06}" dt="2022-12-23T10:47:58.908" v="4128"/>
        <pc:sldMkLst>
          <pc:docMk/>
          <pc:sldMk cId="962056861" sldId="2134806332"/>
        </pc:sldMkLst>
        <pc:spChg chg="del mod">
          <ac:chgData name="STEPANCHENKO, D. (Dmitrii)" userId="30c9d29d-ac41-46ff-b2be-c3f5dd1e26e1" providerId="ADAL" clId="{0D4D30D3-52F8-490C-8E8C-24DC58349B06}" dt="2022-12-23T10:43:45.895" v="4034" actId="478"/>
          <ac:spMkLst>
            <pc:docMk/>
            <pc:sldMk cId="962056861" sldId="2134806332"/>
            <ac:spMk id="5" creationId="{81BD1123-3626-1C45-BF5B-1C1864FA8AFA}"/>
          </ac:spMkLst>
        </pc:spChg>
        <pc:spChg chg="del mod">
          <ac:chgData name="STEPANCHENKO, D. (Dmitrii)" userId="30c9d29d-ac41-46ff-b2be-c3f5dd1e26e1" providerId="ADAL" clId="{0D4D30D3-52F8-490C-8E8C-24DC58349B06}" dt="2022-12-23T10:43:44.457" v="4033" actId="478"/>
          <ac:spMkLst>
            <pc:docMk/>
            <pc:sldMk cId="962056861" sldId="2134806332"/>
            <ac:spMk id="8" creationId="{5DECFFF7-4DDD-4DFE-AF09-04E3986FCD1F}"/>
          </ac:spMkLst>
        </pc:spChg>
        <pc:spChg chg="del">
          <ac:chgData name="STEPANCHENKO, D. (Dmitrii)" userId="30c9d29d-ac41-46ff-b2be-c3f5dd1e26e1" providerId="ADAL" clId="{0D4D30D3-52F8-490C-8E8C-24DC58349B06}" dt="2022-12-23T10:44:30.792" v="4037" actId="478"/>
          <ac:spMkLst>
            <pc:docMk/>
            <pc:sldMk cId="962056861" sldId="2134806332"/>
            <ac:spMk id="10" creationId="{52B6EE28-6B94-4077-8B54-07A0416DBEFA}"/>
          </ac:spMkLst>
        </pc:spChg>
        <pc:spChg chg="add del mod">
          <ac:chgData name="STEPANCHENKO, D. (Dmitrii)" userId="30c9d29d-ac41-46ff-b2be-c3f5dd1e26e1" providerId="ADAL" clId="{0D4D30D3-52F8-490C-8E8C-24DC58349B06}" dt="2022-12-23T10:47:54.106" v="4127" actId="478"/>
          <ac:spMkLst>
            <pc:docMk/>
            <pc:sldMk cId="962056861" sldId="2134806332"/>
            <ac:spMk id="11" creationId="{BB09950D-C344-43B8-8019-0E0EE3D809D4}"/>
          </ac:spMkLst>
        </pc:spChg>
        <pc:spChg chg="add mod">
          <ac:chgData name="STEPANCHENKO, D. (Dmitrii)" userId="30c9d29d-ac41-46ff-b2be-c3f5dd1e26e1" providerId="ADAL" clId="{0D4D30D3-52F8-490C-8E8C-24DC58349B06}" dt="2022-12-23T10:47:58.908" v="4128"/>
          <ac:spMkLst>
            <pc:docMk/>
            <pc:sldMk cId="962056861" sldId="2134806332"/>
            <ac:spMk id="12" creationId="{9B3FF94C-B48C-4D1A-B38D-47E676254B88}"/>
          </ac:spMkLst>
        </pc:spChg>
        <pc:picChg chg="add del mod">
          <ac:chgData name="STEPANCHENKO, D. (Dmitrii)" userId="30c9d29d-ac41-46ff-b2be-c3f5dd1e26e1" providerId="ADAL" clId="{0D4D30D3-52F8-490C-8E8C-24DC58349B06}" dt="2022-12-23T10:45:02.776" v="4066" actId="478"/>
          <ac:picMkLst>
            <pc:docMk/>
            <pc:sldMk cId="962056861" sldId="2134806332"/>
            <ac:picMk id="4" creationId="{2B940A62-2EE7-4206-B5E2-8982646A6448}"/>
          </ac:picMkLst>
        </pc:picChg>
        <pc:picChg chg="add mod">
          <ac:chgData name="STEPANCHENKO, D. (Dmitrii)" userId="30c9d29d-ac41-46ff-b2be-c3f5dd1e26e1" providerId="ADAL" clId="{0D4D30D3-52F8-490C-8E8C-24DC58349B06}" dt="2022-12-23T10:45:16.157" v="4068" actId="1076"/>
          <ac:picMkLst>
            <pc:docMk/>
            <pc:sldMk cId="962056861" sldId="2134806332"/>
            <ac:picMk id="7" creationId="{20299033-72A7-4916-923F-7D116B1D796D}"/>
          </ac:picMkLst>
        </pc:picChg>
      </pc:sldChg>
      <pc:sldChg chg="modSp add mod ord">
        <pc:chgData name="STEPANCHENKO, D. (Dmitrii)" userId="30c9d29d-ac41-46ff-b2be-c3f5dd1e26e1" providerId="ADAL" clId="{0D4D30D3-52F8-490C-8E8C-24DC58349B06}" dt="2022-12-31T10:21:34.474" v="7988" actId="20577"/>
        <pc:sldMkLst>
          <pc:docMk/>
          <pc:sldMk cId="3444687285" sldId="2134806333"/>
        </pc:sldMkLst>
        <pc:spChg chg="mod">
          <ac:chgData name="STEPANCHENKO, D. (Dmitrii)" userId="30c9d29d-ac41-46ff-b2be-c3f5dd1e26e1" providerId="ADAL" clId="{0D4D30D3-52F8-490C-8E8C-24DC58349B06}" dt="2022-12-31T10:21:34.474" v="7988" actId="20577"/>
          <ac:spMkLst>
            <pc:docMk/>
            <pc:sldMk cId="3444687285" sldId="2134806333"/>
            <ac:spMk id="5" creationId="{81BD1123-3626-1C45-BF5B-1C1864FA8AFA}"/>
          </ac:spMkLst>
        </pc:spChg>
      </pc:sldChg>
      <pc:sldChg chg="addSp delSp modSp add mod ord">
        <pc:chgData name="STEPANCHENKO, D. (Dmitrii)" userId="30c9d29d-ac41-46ff-b2be-c3f5dd1e26e1" providerId="ADAL" clId="{0D4D30D3-52F8-490C-8E8C-24DC58349B06}" dt="2022-12-23T13:57:13.347" v="7138" actId="20577"/>
        <pc:sldMkLst>
          <pc:docMk/>
          <pc:sldMk cId="3608721573" sldId="2134806334"/>
        </pc:sldMkLst>
        <pc:spChg chg="add del mod">
          <ac:chgData name="STEPANCHENKO, D. (Dmitrii)" userId="30c9d29d-ac41-46ff-b2be-c3f5dd1e26e1" providerId="ADAL" clId="{0D4D30D3-52F8-490C-8E8C-24DC58349B06}" dt="2022-12-23T12:56:07.649" v="4657" actId="478"/>
          <ac:spMkLst>
            <pc:docMk/>
            <pc:sldMk cId="3608721573" sldId="2134806334"/>
            <ac:spMk id="3" creationId="{C6A9DD77-3FE6-4E75-8D99-E97A9B82E591}"/>
          </ac:spMkLst>
        </pc:spChg>
        <pc:spChg chg="mod">
          <ac:chgData name="STEPANCHENKO, D. (Dmitrii)" userId="30c9d29d-ac41-46ff-b2be-c3f5dd1e26e1" providerId="ADAL" clId="{0D4D30D3-52F8-490C-8E8C-24DC58349B06}" dt="2022-12-23T12:55:45.518" v="4645" actId="20577"/>
          <ac:spMkLst>
            <pc:docMk/>
            <pc:sldMk cId="3608721573" sldId="2134806334"/>
            <ac:spMk id="5" creationId="{81BD1123-3626-1C45-BF5B-1C1864FA8AFA}"/>
          </ac:spMkLst>
        </pc:spChg>
        <pc:spChg chg="del">
          <ac:chgData name="STEPANCHENKO, D. (Dmitrii)" userId="30c9d29d-ac41-46ff-b2be-c3f5dd1e26e1" providerId="ADAL" clId="{0D4D30D3-52F8-490C-8E8C-24DC58349B06}" dt="2022-12-23T12:55:26.120" v="4619" actId="478"/>
          <ac:spMkLst>
            <pc:docMk/>
            <pc:sldMk cId="3608721573" sldId="2134806334"/>
            <ac:spMk id="8" creationId="{5DECFFF7-4DDD-4DFE-AF09-04E3986FCD1F}"/>
          </ac:spMkLst>
        </pc:spChg>
        <pc:spChg chg="del">
          <ac:chgData name="STEPANCHENKO, D. (Dmitrii)" userId="30c9d29d-ac41-46ff-b2be-c3f5dd1e26e1" providerId="ADAL" clId="{0D4D30D3-52F8-490C-8E8C-24DC58349B06}" dt="2022-12-23T12:55:28.808" v="4620" actId="478"/>
          <ac:spMkLst>
            <pc:docMk/>
            <pc:sldMk cId="3608721573" sldId="2134806334"/>
            <ac:spMk id="10" creationId="{52B6EE28-6B94-4077-8B54-07A0416DBEFA}"/>
          </ac:spMkLst>
        </pc:spChg>
        <pc:spChg chg="add mod">
          <ac:chgData name="STEPANCHENKO, D. (Dmitrii)" userId="30c9d29d-ac41-46ff-b2be-c3f5dd1e26e1" providerId="ADAL" clId="{0D4D30D3-52F8-490C-8E8C-24DC58349B06}" dt="2022-12-23T13:43:53.606" v="6430" actId="20577"/>
          <ac:spMkLst>
            <pc:docMk/>
            <pc:sldMk cId="3608721573" sldId="2134806334"/>
            <ac:spMk id="12" creationId="{0752E6A3-4425-48A0-9570-33BE5F54B45C}"/>
          </ac:spMkLst>
        </pc:spChg>
        <pc:spChg chg="add mod">
          <ac:chgData name="STEPANCHENKO, D. (Dmitrii)" userId="30c9d29d-ac41-46ff-b2be-c3f5dd1e26e1" providerId="ADAL" clId="{0D4D30D3-52F8-490C-8E8C-24DC58349B06}" dt="2022-12-23T13:56:58.610" v="7135" actId="20577"/>
          <ac:spMkLst>
            <pc:docMk/>
            <pc:sldMk cId="3608721573" sldId="2134806334"/>
            <ac:spMk id="13" creationId="{9AD3A892-2754-4EB3-A4DA-CB0772BFAF88}"/>
          </ac:spMkLst>
        </pc:spChg>
        <pc:spChg chg="add mod">
          <ac:chgData name="STEPANCHENKO, D. (Dmitrii)" userId="30c9d29d-ac41-46ff-b2be-c3f5dd1e26e1" providerId="ADAL" clId="{0D4D30D3-52F8-490C-8E8C-24DC58349B06}" dt="2022-12-23T13:57:13.347" v="7138" actId="20577"/>
          <ac:spMkLst>
            <pc:docMk/>
            <pc:sldMk cId="3608721573" sldId="2134806334"/>
            <ac:spMk id="14" creationId="{8774A0F6-E177-49B2-90C1-41ECDC52A906}"/>
          </ac:spMkLst>
        </pc:spChg>
        <pc:graphicFrameChg chg="add del mod modGraphic">
          <ac:chgData name="STEPANCHENKO, D. (Dmitrii)" userId="30c9d29d-ac41-46ff-b2be-c3f5dd1e26e1" providerId="ADAL" clId="{0D4D30D3-52F8-490C-8E8C-24DC58349B06}" dt="2022-12-23T13:01:22.516" v="4662" actId="478"/>
          <ac:graphicFrameMkLst>
            <pc:docMk/>
            <pc:sldMk cId="3608721573" sldId="2134806334"/>
            <ac:graphicFrameMk id="4" creationId="{CE415FA7-BB8E-46E7-9DE7-924FF3DF3C2B}"/>
          </ac:graphicFrameMkLst>
        </pc:graphicFrameChg>
        <pc:graphicFrameChg chg="add mod modGraphic">
          <ac:chgData name="STEPANCHENKO, D. (Dmitrii)" userId="30c9d29d-ac41-46ff-b2be-c3f5dd1e26e1" providerId="ADAL" clId="{0D4D30D3-52F8-490C-8E8C-24DC58349B06}" dt="2022-12-23T13:19:04.427" v="5443" actId="20577"/>
          <ac:graphicFrameMkLst>
            <pc:docMk/>
            <pc:sldMk cId="3608721573" sldId="2134806334"/>
            <ac:graphicFrameMk id="6" creationId="{13ED6E41-6289-460B-BAE9-304E921B4555}"/>
          </ac:graphicFrameMkLst>
        </pc:graphicFrameChg>
        <pc:cxnChg chg="add mod">
          <ac:chgData name="STEPANCHENKO, D. (Dmitrii)" userId="30c9d29d-ac41-46ff-b2be-c3f5dd1e26e1" providerId="ADAL" clId="{0D4D30D3-52F8-490C-8E8C-24DC58349B06}" dt="2022-12-23T13:12:22.258" v="4877" actId="1036"/>
          <ac:cxnSpMkLst>
            <pc:docMk/>
            <pc:sldMk cId="3608721573" sldId="2134806334"/>
            <ac:cxnSpMk id="9" creationId="{B0A39E29-580B-410B-94A4-8966AC40A585}"/>
          </ac:cxnSpMkLst>
        </pc:cxnChg>
        <pc:cxnChg chg="add mod">
          <ac:chgData name="STEPANCHENKO, D. (Dmitrii)" userId="30c9d29d-ac41-46ff-b2be-c3f5dd1e26e1" providerId="ADAL" clId="{0D4D30D3-52F8-490C-8E8C-24DC58349B06}" dt="2022-12-23T13:12:17.808" v="4860" actId="1036"/>
          <ac:cxnSpMkLst>
            <pc:docMk/>
            <pc:sldMk cId="3608721573" sldId="2134806334"/>
            <ac:cxnSpMk id="11" creationId="{E502FB7F-08B3-473F-9827-C88F050F5A53}"/>
          </ac:cxnSpMkLst>
        </pc:cxnChg>
      </pc:sldChg>
      <pc:sldChg chg="addSp delSp modSp add mod">
        <pc:chgData name="STEPANCHENKO, D. (Dmitrii)" userId="30c9d29d-ac41-46ff-b2be-c3f5dd1e26e1" providerId="ADAL" clId="{0D4D30D3-52F8-490C-8E8C-24DC58349B06}" dt="2022-12-23T14:30:34.667" v="7162" actId="14100"/>
        <pc:sldMkLst>
          <pc:docMk/>
          <pc:sldMk cId="3429197109" sldId="2134806335"/>
        </pc:sldMkLst>
        <pc:spChg chg="mod">
          <ac:chgData name="STEPANCHENKO, D. (Dmitrii)" userId="30c9d29d-ac41-46ff-b2be-c3f5dd1e26e1" providerId="ADAL" clId="{0D4D30D3-52F8-490C-8E8C-24DC58349B06}" dt="2022-12-23T13:41:37.668" v="6398" actId="20577"/>
          <ac:spMkLst>
            <pc:docMk/>
            <pc:sldMk cId="3429197109" sldId="2134806335"/>
            <ac:spMk id="5" creationId="{81BD1123-3626-1C45-BF5B-1C1864FA8AFA}"/>
          </ac:spMkLst>
        </pc:spChg>
        <pc:spChg chg="del">
          <ac:chgData name="STEPANCHENKO, D. (Dmitrii)" userId="30c9d29d-ac41-46ff-b2be-c3f5dd1e26e1" providerId="ADAL" clId="{0D4D30D3-52F8-490C-8E8C-24DC58349B06}" dt="2022-12-23T13:41:39.424" v="6399" actId="478"/>
          <ac:spMkLst>
            <pc:docMk/>
            <pc:sldMk cId="3429197109" sldId="2134806335"/>
            <ac:spMk id="8" creationId="{5DECFFF7-4DDD-4DFE-AF09-04E3986FCD1F}"/>
          </ac:spMkLst>
        </pc:spChg>
        <pc:spChg chg="del">
          <ac:chgData name="STEPANCHENKO, D. (Dmitrii)" userId="30c9d29d-ac41-46ff-b2be-c3f5dd1e26e1" providerId="ADAL" clId="{0D4D30D3-52F8-490C-8E8C-24DC58349B06}" dt="2022-12-23T13:41:45.208" v="6400" actId="478"/>
          <ac:spMkLst>
            <pc:docMk/>
            <pc:sldMk cId="3429197109" sldId="2134806335"/>
            <ac:spMk id="10" creationId="{52B6EE28-6B94-4077-8B54-07A0416DBEFA}"/>
          </ac:spMkLst>
        </pc:spChg>
        <pc:graphicFrameChg chg="add mod modGraphic">
          <ac:chgData name="STEPANCHENKO, D. (Dmitrii)" userId="30c9d29d-ac41-46ff-b2be-c3f5dd1e26e1" providerId="ADAL" clId="{0D4D30D3-52F8-490C-8E8C-24DC58349B06}" dt="2022-12-23T14:30:34.667" v="7162" actId="14100"/>
          <ac:graphicFrameMkLst>
            <pc:docMk/>
            <pc:sldMk cId="3429197109" sldId="2134806335"/>
            <ac:graphicFrameMk id="3" creationId="{3FB1392B-9DAC-40D6-AF12-16AF88B26518}"/>
          </ac:graphicFrameMkLst>
        </pc:graphicFrameChg>
      </pc:sldChg>
      <pc:sldChg chg="addSp delSp modSp add mod ord">
        <pc:chgData name="STEPANCHENKO, D. (Dmitrii)" userId="30c9d29d-ac41-46ff-b2be-c3f5dd1e26e1" providerId="ADAL" clId="{0D4D30D3-52F8-490C-8E8C-24DC58349B06}" dt="2022-12-31T10:26:11.500" v="8061" actId="20577"/>
        <pc:sldMkLst>
          <pc:docMk/>
          <pc:sldMk cId="1608794076" sldId="2134806336"/>
        </pc:sldMkLst>
        <pc:spChg chg="mod">
          <ac:chgData name="STEPANCHENKO, D. (Dmitrii)" userId="30c9d29d-ac41-46ff-b2be-c3f5dd1e26e1" providerId="ADAL" clId="{0D4D30D3-52F8-490C-8E8C-24DC58349B06}" dt="2022-12-23T13:58:34.029" v="7149"/>
          <ac:spMkLst>
            <pc:docMk/>
            <pc:sldMk cId="1608794076" sldId="2134806336"/>
            <ac:spMk id="5" creationId="{81BD1123-3626-1C45-BF5B-1C1864FA8AFA}"/>
          </ac:spMkLst>
        </pc:spChg>
        <pc:spChg chg="add mod">
          <ac:chgData name="STEPANCHENKO, D. (Dmitrii)" userId="30c9d29d-ac41-46ff-b2be-c3f5dd1e26e1" providerId="ADAL" clId="{0D4D30D3-52F8-490C-8E8C-24DC58349B06}" dt="2022-12-31T10:26:11.500" v="8061" actId="20577"/>
          <ac:spMkLst>
            <pc:docMk/>
            <pc:sldMk cId="1608794076" sldId="2134806336"/>
            <ac:spMk id="7" creationId="{123EC169-7644-486C-8036-F709D2DAEAF0}"/>
          </ac:spMkLst>
        </pc:spChg>
        <pc:spChg chg="del">
          <ac:chgData name="STEPANCHENKO, D. (Dmitrii)" userId="30c9d29d-ac41-46ff-b2be-c3f5dd1e26e1" providerId="ADAL" clId="{0D4D30D3-52F8-490C-8E8C-24DC58349B06}" dt="2022-12-23T13:59:32.477" v="7159" actId="478"/>
          <ac:spMkLst>
            <pc:docMk/>
            <pc:sldMk cId="1608794076" sldId="2134806336"/>
            <ac:spMk id="8" creationId="{5DECFFF7-4DDD-4DFE-AF09-04E3986FCD1F}"/>
          </ac:spMkLst>
        </pc:spChg>
        <pc:graphicFrameChg chg="add mod modGraphic">
          <ac:chgData name="STEPANCHENKO, D. (Dmitrii)" userId="30c9d29d-ac41-46ff-b2be-c3f5dd1e26e1" providerId="ADAL" clId="{0D4D30D3-52F8-490C-8E8C-24DC58349B06}" dt="2022-12-31T10:25:45.206" v="8058" actId="2161"/>
          <ac:graphicFrameMkLst>
            <pc:docMk/>
            <pc:sldMk cId="1608794076" sldId="2134806336"/>
            <ac:graphicFrameMk id="3" creationId="{14F17274-164C-418B-B125-D92ACA77A98E}"/>
          </ac:graphicFrameMkLst>
        </pc:graphicFrameChg>
      </pc:sldChg>
      <pc:sldChg chg="modSp add mod">
        <pc:chgData name="STEPANCHENKO, D. (Dmitrii)" userId="30c9d29d-ac41-46ff-b2be-c3f5dd1e26e1" providerId="ADAL" clId="{0D4D30D3-52F8-490C-8E8C-24DC58349B06}" dt="2022-12-27T17:20:26.566" v="7168" actId="20577"/>
        <pc:sldMkLst>
          <pc:docMk/>
          <pc:sldMk cId="3231236423" sldId="2134806337"/>
        </pc:sldMkLst>
        <pc:spChg chg="mod">
          <ac:chgData name="STEPANCHENKO, D. (Dmitrii)" userId="30c9d29d-ac41-46ff-b2be-c3f5dd1e26e1" providerId="ADAL" clId="{0D4D30D3-52F8-490C-8E8C-24DC58349B06}" dt="2022-12-27T17:20:26.566" v="7168" actId="20577"/>
          <ac:spMkLst>
            <pc:docMk/>
            <pc:sldMk cId="3231236423" sldId="2134806337"/>
            <ac:spMk id="5" creationId="{81BD1123-3626-1C45-BF5B-1C1864FA8AFA}"/>
          </ac:spMkLst>
        </pc:spChg>
      </pc:sldChg>
      <pc:sldChg chg="addSp delSp modSp add mod">
        <pc:chgData name="STEPANCHENKO, D. (Dmitrii)" userId="30c9d29d-ac41-46ff-b2be-c3f5dd1e26e1" providerId="ADAL" clId="{0D4D30D3-52F8-490C-8E8C-24DC58349B06}" dt="2022-12-23T10:47:48.199" v="4126" actId="1038"/>
        <pc:sldMkLst>
          <pc:docMk/>
          <pc:sldMk cId="1628329711" sldId="2134806338"/>
        </pc:sldMkLst>
        <pc:spChg chg="mod">
          <ac:chgData name="STEPANCHENKO, D. (Dmitrii)" userId="30c9d29d-ac41-46ff-b2be-c3f5dd1e26e1" providerId="ADAL" clId="{0D4D30D3-52F8-490C-8E8C-24DC58349B06}" dt="2022-12-23T10:47:48.199" v="4126" actId="1038"/>
          <ac:spMkLst>
            <pc:docMk/>
            <pc:sldMk cId="1628329711" sldId="2134806338"/>
            <ac:spMk id="11" creationId="{BB09950D-C344-43B8-8019-0E0EE3D809D4}"/>
          </ac:spMkLst>
        </pc:spChg>
        <pc:picChg chg="add mod">
          <ac:chgData name="STEPANCHENKO, D. (Dmitrii)" userId="30c9d29d-ac41-46ff-b2be-c3f5dd1e26e1" providerId="ADAL" clId="{0D4D30D3-52F8-490C-8E8C-24DC58349B06}" dt="2022-12-23T10:47:33.411" v="4100" actId="1076"/>
          <ac:picMkLst>
            <pc:docMk/>
            <pc:sldMk cId="1628329711" sldId="2134806338"/>
            <ac:picMk id="4" creationId="{C2F50882-97E8-4B30-A6E4-10FBB13CD314}"/>
          </ac:picMkLst>
        </pc:picChg>
        <pc:picChg chg="del">
          <ac:chgData name="STEPANCHENKO, D. (Dmitrii)" userId="30c9d29d-ac41-46ff-b2be-c3f5dd1e26e1" providerId="ADAL" clId="{0D4D30D3-52F8-490C-8E8C-24DC58349B06}" dt="2022-12-23T10:46:34.345" v="4098" actId="478"/>
          <ac:picMkLst>
            <pc:docMk/>
            <pc:sldMk cId="1628329711" sldId="2134806338"/>
            <ac:picMk id="7" creationId="{20299033-72A7-4916-923F-7D116B1D796D}"/>
          </ac:picMkLst>
        </pc:picChg>
      </pc:sldChg>
      <pc:sldChg chg="addSp delSp modSp add mod ord">
        <pc:chgData name="STEPANCHENKO, D. (Dmitrii)" userId="30c9d29d-ac41-46ff-b2be-c3f5dd1e26e1" providerId="ADAL" clId="{0D4D30D3-52F8-490C-8E8C-24DC58349B06}" dt="2022-12-23T11:04:17.061" v="4186"/>
        <pc:sldMkLst>
          <pc:docMk/>
          <pc:sldMk cId="1551122493" sldId="2134806339"/>
        </pc:sldMkLst>
        <pc:picChg chg="del">
          <ac:chgData name="STEPANCHENKO, D. (Dmitrii)" userId="30c9d29d-ac41-46ff-b2be-c3f5dd1e26e1" providerId="ADAL" clId="{0D4D30D3-52F8-490C-8E8C-24DC58349B06}" dt="2022-12-23T11:01:40.700" v="4131" actId="478"/>
          <ac:picMkLst>
            <pc:docMk/>
            <pc:sldMk cId="1551122493" sldId="2134806339"/>
            <ac:picMk id="4" creationId="{C2F50882-97E8-4B30-A6E4-10FBB13CD314}"/>
          </ac:picMkLst>
        </pc:picChg>
        <pc:picChg chg="add mod">
          <ac:chgData name="STEPANCHENKO, D. (Dmitrii)" userId="30c9d29d-ac41-46ff-b2be-c3f5dd1e26e1" providerId="ADAL" clId="{0D4D30D3-52F8-490C-8E8C-24DC58349B06}" dt="2022-12-23T11:02:58.065" v="4170" actId="14100"/>
          <ac:picMkLst>
            <pc:docMk/>
            <pc:sldMk cId="1551122493" sldId="2134806339"/>
            <ac:picMk id="5" creationId="{1F0E5A33-280B-4600-A09F-47F03165EB83}"/>
          </ac:picMkLst>
        </pc:picChg>
      </pc:sldChg>
      <pc:sldChg chg="addSp delSp modSp add del mod ord">
        <pc:chgData name="STEPANCHENKO, D. (Dmitrii)" userId="30c9d29d-ac41-46ff-b2be-c3f5dd1e26e1" providerId="ADAL" clId="{0D4D30D3-52F8-490C-8E8C-24DC58349B06}" dt="2022-12-23T11:10:57.238" v="4268" actId="47"/>
        <pc:sldMkLst>
          <pc:docMk/>
          <pc:sldMk cId="3161876117" sldId="2134806340"/>
        </pc:sldMkLst>
        <pc:picChg chg="del">
          <ac:chgData name="STEPANCHENKO, D. (Dmitrii)" userId="30c9d29d-ac41-46ff-b2be-c3f5dd1e26e1" providerId="ADAL" clId="{0D4D30D3-52F8-490C-8E8C-24DC58349B06}" dt="2022-12-23T11:01:42.737" v="4132" actId="478"/>
          <ac:picMkLst>
            <pc:docMk/>
            <pc:sldMk cId="3161876117" sldId="2134806340"/>
            <ac:picMk id="4" creationId="{C2F50882-97E8-4B30-A6E4-10FBB13CD314}"/>
          </ac:picMkLst>
        </pc:picChg>
        <pc:picChg chg="add mod">
          <ac:chgData name="STEPANCHENKO, D. (Dmitrii)" userId="30c9d29d-ac41-46ff-b2be-c3f5dd1e26e1" providerId="ADAL" clId="{0D4D30D3-52F8-490C-8E8C-24DC58349B06}" dt="2022-12-23T11:02:21.935" v="4167" actId="1036"/>
          <ac:picMkLst>
            <pc:docMk/>
            <pc:sldMk cId="3161876117" sldId="2134806340"/>
            <ac:picMk id="5" creationId="{1D09C45E-8407-4091-8884-A2626C8EFDE4}"/>
          </ac:picMkLst>
        </pc:picChg>
      </pc:sldChg>
      <pc:sldChg chg="add del">
        <pc:chgData name="STEPANCHENKO, D. (Dmitrii)" userId="30c9d29d-ac41-46ff-b2be-c3f5dd1e26e1" providerId="ADAL" clId="{0D4D30D3-52F8-490C-8E8C-24DC58349B06}" dt="2022-12-23T11:01:50.635" v="4134"/>
        <pc:sldMkLst>
          <pc:docMk/>
          <pc:sldMk cId="2237007134" sldId="2134806341"/>
        </pc:sldMkLst>
      </pc:sldChg>
      <pc:sldChg chg="addSp delSp modSp add mod">
        <pc:chgData name="STEPANCHENKO, D. (Dmitrii)" userId="30c9d29d-ac41-46ff-b2be-c3f5dd1e26e1" providerId="ADAL" clId="{0D4D30D3-52F8-490C-8E8C-24DC58349B06}" dt="2022-12-23T11:05:52.859" v="4215" actId="1036"/>
        <pc:sldMkLst>
          <pc:docMk/>
          <pc:sldMk cId="4055161192" sldId="2134806341"/>
        </pc:sldMkLst>
        <pc:picChg chg="del">
          <ac:chgData name="STEPANCHENKO, D. (Dmitrii)" userId="30c9d29d-ac41-46ff-b2be-c3f5dd1e26e1" providerId="ADAL" clId="{0D4D30D3-52F8-490C-8E8C-24DC58349B06}" dt="2022-12-23T11:03:42.939" v="4174" actId="478"/>
          <ac:picMkLst>
            <pc:docMk/>
            <pc:sldMk cId="4055161192" sldId="2134806341"/>
            <ac:picMk id="4" creationId="{C2F50882-97E8-4B30-A6E4-10FBB13CD314}"/>
          </ac:picMkLst>
        </pc:picChg>
        <pc:picChg chg="add mod">
          <ac:chgData name="STEPANCHENKO, D. (Dmitrii)" userId="30c9d29d-ac41-46ff-b2be-c3f5dd1e26e1" providerId="ADAL" clId="{0D4D30D3-52F8-490C-8E8C-24DC58349B06}" dt="2022-12-23T11:05:52.859" v="4215" actId="1036"/>
          <ac:picMkLst>
            <pc:docMk/>
            <pc:sldMk cId="4055161192" sldId="2134806341"/>
            <ac:picMk id="5" creationId="{8786B4DB-54D0-49D4-A975-EC0ECEA390B3}"/>
          </ac:picMkLst>
        </pc:picChg>
      </pc:sldChg>
      <pc:sldChg chg="addSp modSp add mod ord">
        <pc:chgData name="STEPANCHENKO, D. (Dmitrii)" userId="30c9d29d-ac41-46ff-b2be-c3f5dd1e26e1" providerId="ADAL" clId="{0D4D30D3-52F8-490C-8E8C-24DC58349B06}" dt="2022-12-23T11:06:50.457" v="4241" actId="20577"/>
        <pc:sldMkLst>
          <pc:docMk/>
          <pc:sldMk cId="2501858576" sldId="2134806342"/>
        </pc:sldMkLst>
        <pc:spChg chg="add mod">
          <ac:chgData name="STEPANCHENKO, D. (Dmitrii)" userId="30c9d29d-ac41-46ff-b2be-c3f5dd1e26e1" providerId="ADAL" clId="{0D4D30D3-52F8-490C-8E8C-24DC58349B06}" dt="2022-12-23T11:06:50.457" v="4241" actId="20577"/>
          <ac:spMkLst>
            <pc:docMk/>
            <pc:sldMk cId="2501858576" sldId="2134806342"/>
            <ac:spMk id="8" creationId="{9E99B46D-E916-43A6-BC68-8132CE54B575}"/>
          </ac:spMkLst>
        </pc:spChg>
        <pc:spChg chg="mod">
          <ac:chgData name="STEPANCHENKO, D. (Dmitrii)" userId="30c9d29d-ac41-46ff-b2be-c3f5dd1e26e1" providerId="ADAL" clId="{0D4D30D3-52F8-490C-8E8C-24DC58349B06}" dt="2022-12-23T11:06:36.735" v="4220" actId="14100"/>
          <ac:spMkLst>
            <pc:docMk/>
            <pc:sldMk cId="2501858576" sldId="2134806342"/>
            <ac:spMk id="11" creationId="{BB09950D-C344-43B8-8019-0E0EE3D809D4}"/>
          </ac:spMkLst>
        </pc:spChg>
        <pc:picChg chg="add mod">
          <ac:chgData name="STEPANCHENKO, D. (Dmitrii)" userId="30c9d29d-ac41-46ff-b2be-c3f5dd1e26e1" providerId="ADAL" clId="{0D4D30D3-52F8-490C-8E8C-24DC58349B06}" dt="2022-12-23T11:06:18.696" v="4217" actId="1076"/>
          <ac:picMkLst>
            <pc:docMk/>
            <pc:sldMk cId="2501858576" sldId="2134806342"/>
            <ac:picMk id="4" creationId="{01143419-EC07-4A19-A081-09A719F214FC}"/>
          </ac:picMkLst>
        </pc:picChg>
        <pc:picChg chg="add mod">
          <ac:chgData name="STEPANCHENKO, D. (Dmitrii)" userId="30c9d29d-ac41-46ff-b2be-c3f5dd1e26e1" providerId="ADAL" clId="{0D4D30D3-52F8-490C-8E8C-24DC58349B06}" dt="2022-12-23T11:06:34.342" v="4219" actId="1076"/>
          <ac:picMkLst>
            <pc:docMk/>
            <pc:sldMk cId="2501858576" sldId="2134806342"/>
            <ac:picMk id="6" creationId="{C58F600E-E0CD-44B0-A740-4CAACCDD11E6}"/>
          </ac:picMkLst>
        </pc:picChg>
      </pc:sldChg>
      <pc:sldChg chg="add del">
        <pc:chgData name="STEPANCHENKO, D. (Dmitrii)" userId="30c9d29d-ac41-46ff-b2be-c3f5dd1e26e1" providerId="ADAL" clId="{0D4D30D3-52F8-490C-8E8C-24DC58349B06}" dt="2022-12-23T11:03:43.928" v="4176"/>
        <pc:sldMkLst>
          <pc:docMk/>
          <pc:sldMk cId="4275971901" sldId="2134806342"/>
        </pc:sldMkLst>
      </pc:sldChg>
      <pc:sldChg chg="addSp delSp modSp add mod ord">
        <pc:chgData name="STEPANCHENKO, D. (Dmitrii)" userId="30c9d29d-ac41-46ff-b2be-c3f5dd1e26e1" providerId="ADAL" clId="{0D4D30D3-52F8-490C-8E8C-24DC58349B06}" dt="2022-12-23T11:05:48.455" v="4210" actId="1036"/>
        <pc:sldMkLst>
          <pc:docMk/>
          <pc:sldMk cId="1681204507" sldId="2134806343"/>
        </pc:sldMkLst>
        <pc:spChg chg="mod">
          <ac:chgData name="STEPANCHENKO, D. (Dmitrii)" userId="30c9d29d-ac41-46ff-b2be-c3f5dd1e26e1" providerId="ADAL" clId="{0D4D30D3-52F8-490C-8E8C-24DC58349B06}" dt="2022-12-23T11:04:10.552" v="4182" actId="1076"/>
          <ac:spMkLst>
            <pc:docMk/>
            <pc:sldMk cId="1681204507" sldId="2134806343"/>
            <ac:spMk id="11" creationId="{BB09950D-C344-43B8-8019-0E0EE3D809D4}"/>
          </ac:spMkLst>
        </pc:spChg>
        <pc:picChg chg="add mod">
          <ac:chgData name="STEPANCHENKO, D. (Dmitrii)" userId="30c9d29d-ac41-46ff-b2be-c3f5dd1e26e1" providerId="ADAL" clId="{0D4D30D3-52F8-490C-8E8C-24DC58349B06}" dt="2022-12-23T11:05:48.455" v="4210" actId="1036"/>
          <ac:picMkLst>
            <pc:docMk/>
            <pc:sldMk cId="1681204507" sldId="2134806343"/>
            <ac:picMk id="4" creationId="{D63EE18E-3834-42F2-BD40-08BA16AA6383}"/>
          </ac:picMkLst>
        </pc:picChg>
        <pc:picChg chg="add del mod">
          <ac:chgData name="STEPANCHENKO, D. (Dmitrii)" userId="30c9d29d-ac41-46ff-b2be-c3f5dd1e26e1" providerId="ADAL" clId="{0D4D30D3-52F8-490C-8E8C-24DC58349B06}" dt="2022-12-23T11:05:05.099" v="4197" actId="21"/>
          <ac:picMkLst>
            <pc:docMk/>
            <pc:sldMk cId="1681204507" sldId="2134806343"/>
            <ac:picMk id="6" creationId="{F1EB221D-CA7A-49A1-B4CB-00AB653CEE64}"/>
          </ac:picMkLst>
        </pc:picChg>
      </pc:sldChg>
      <pc:sldChg chg="addSp modSp add mod">
        <pc:chgData name="STEPANCHENKO, D. (Dmitrii)" userId="30c9d29d-ac41-46ff-b2be-c3f5dd1e26e1" providerId="ADAL" clId="{0D4D30D3-52F8-490C-8E8C-24DC58349B06}" dt="2022-12-23T11:07:44.954" v="4244" actId="14100"/>
        <pc:sldMkLst>
          <pc:docMk/>
          <pc:sldMk cId="3094043980" sldId="2134806344"/>
        </pc:sldMkLst>
        <pc:picChg chg="add mod">
          <ac:chgData name="STEPANCHENKO, D. (Dmitrii)" userId="30c9d29d-ac41-46ff-b2be-c3f5dd1e26e1" providerId="ADAL" clId="{0D4D30D3-52F8-490C-8E8C-24DC58349B06}" dt="2022-12-23T11:07:44.954" v="4244" actId="14100"/>
          <ac:picMkLst>
            <pc:docMk/>
            <pc:sldMk cId="3094043980" sldId="2134806344"/>
            <ac:picMk id="4" creationId="{75934AAE-4E2F-404E-8D00-83E1D3A6AE93}"/>
          </ac:picMkLst>
        </pc:picChg>
      </pc:sldChg>
      <pc:sldChg chg="addSp modSp add mod">
        <pc:chgData name="STEPANCHENKO, D. (Dmitrii)" userId="30c9d29d-ac41-46ff-b2be-c3f5dd1e26e1" providerId="ADAL" clId="{0D4D30D3-52F8-490C-8E8C-24DC58349B06}" dt="2022-12-23T11:09:26.369" v="4261" actId="1036"/>
        <pc:sldMkLst>
          <pc:docMk/>
          <pc:sldMk cId="319979765" sldId="2134806345"/>
        </pc:sldMkLst>
        <pc:picChg chg="add mod">
          <ac:chgData name="STEPANCHENKO, D. (Dmitrii)" userId="30c9d29d-ac41-46ff-b2be-c3f5dd1e26e1" providerId="ADAL" clId="{0D4D30D3-52F8-490C-8E8C-24DC58349B06}" dt="2022-12-23T11:09:26.369" v="4261" actId="1036"/>
          <ac:picMkLst>
            <pc:docMk/>
            <pc:sldMk cId="319979765" sldId="2134806345"/>
            <ac:picMk id="4" creationId="{4C8BE61A-2F3A-4FEA-9317-70FF39B404E7}"/>
          </ac:picMkLst>
        </pc:picChg>
      </pc:sldChg>
      <pc:sldChg chg="addSp modSp add mod">
        <pc:chgData name="STEPANCHENKO, D. (Dmitrii)" userId="30c9d29d-ac41-46ff-b2be-c3f5dd1e26e1" providerId="ADAL" clId="{0D4D30D3-52F8-490C-8E8C-24DC58349B06}" dt="2022-12-23T11:10:49.972" v="4265" actId="1036"/>
        <pc:sldMkLst>
          <pc:docMk/>
          <pc:sldMk cId="1623928624" sldId="2134806346"/>
        </pc:sldMkLst>
        <pc:picChg chg="add mod">
          <ac:chgData name="STEPANCHENKO, D. (Dmitrii)" userId="30c9d29d-ac41-46ff-b2be-c3f5dd1e26e1" providerId="ADAL" clId="{0D4D30D3-52F8-490C-8E8C-24DC58349B06}" dt="2022-12-23T11:10:49.972" v="4265" actId="1036"/>
          <ac:picMkLst>
            <pc:docMk/>
            <pc:sldMk cId="1623928624" sldId="2134806346"/>
            <ac:picMk id="4" creationId="{3111B2C3-E963-479B-9B06-0EC84EC99BA3}"/>
          </ac:picMkLst>
        </pc:picChg>
      </pc:sldChg>
      <pc:sldChg chg="addSp delSp modSp add mod ord">
        <pc:chgData name="STEPANCHENKO, D. (Dmitrii)" userId="30c9d29d-ac41-46ff-b2be-c3f5dd1e26e1" providerId="ADAL" clId="{0D4D30D3-52F8-490C-8E8C-24DC58349B06}" dt="2022-12-23T11:15:07.165" v="4278" actId="14100"/>
        <pc:sldMkLst>
          <pc:docMk/>
          <pc:sldMk cId="3986974841" sldId="2134806347"/>
        </pc:sldMkLst>
        <pc:picChg chg="del">
          <ac:chgData name="STEPANCHENKO, D. (Dmitrii)" userId="30c9d29d-ac41-46ff-b2be-c3f5dd1e26e1" providerId="ADAL" clId="{0D4D30D3-52F8-490C-8E8C-24DC58349B06}" dt="2022-12-23T11:11:06.064" v="4272" actId="478"/>
          <ac:picMkLst>
            <pc:docMk/>
            <pc:sldMk cId="3986974841" sldId="2134806347"/>
            <ac:picMk id="4" creationId="{75934AAE-4E2F-404E-8D00-83E1D3A6AE93}"/>
          </ac:picMkLst>
        </pc:picChg>
        <pc:picChg chg="add mod">
          <ac:chgData name="STEPANCHENKO, D. (Dmitrii)" userId="30c9d29d-ac41-46ff-b2be-c3f5dd1e26e1" providerId="ADAL" clId="{0D4D30D3-52F8-490C-8E8C-24DC58349B06}" dt="2022-12-23T11:15:07.165" v="4278" actId="14100"/>
          <ac:picMkLst>
            <pc:docMk/>
            <pc:sldMk cId="3986974841" sldId="2134806347"/>
            <ac:picMk id="5" creationId="{837C5759-45A0-43DC-8565-C74AF28123B6}"/>
          </ac:picMkLst>
        </pc:picChg>
      </pc:sldChg>
      <pc:sldChg chg="add del">
        <pc:chgData name="STEPANCHENKO, D. (Dmitrii)" userId="30c9d29d-ac41-46ff-b2be-c3f5dd1e26e1" providerId="ADAL" clId="{0D4D30D3-52F8-490C-8E8C-24DC58349B06}" dt="2022-12-23T11:23:23.834" v="4279" actId="47"/>
        <pc:sldMkLst>
          <pc:docMk/>
          <pc:sldMk cId="1721167703" sldId="2134806348"/>
        </pc:sldMkLst>
      </pc:sldChg>
      <pc:sldChg chg="addSp delSp modSp add mod">
        <pc:chgData name="STEPANCHENKO, D. (Dmitrii)" userId="30c9d29d-ac41-46ff-b2be-c3f5dd1e26e1" providerId="ADAL" clId="{0D4D30D3-52F8-490C-8E8C-24DC58349B06}" dt="2022-12-23T14:30:54.685" v="7164"/>
        <pc:sldMkLst>
          <pc:docMk/>
          <pc:sldMk cId="3121307498" sldId="2134806348"/>
        </pc:sldMkLst>
        <pc:spChg chg="mod">
          <ac:chgData name="STEPANCHENKO, D. (Dmitrii)" userId="30c9d29d-ac41-46ff-b2be-c3f5dd1e26e1" providerId="ADAL" clId="{0D4D30D3-52F8-490C-8E8C-24DC58349B06}" dt="2022-12-23T13:14:04.092" v="5017" actId="20577"/>
          <ac:spMkLst>
            <pc:docMk/>
            <pc:sldMk cId="3121307498" sldId="2134806348"/>
            <ac:spMk id="5" creationId="{81BD1123-3626-1C45-BF5B-1C1864FA8AFA}"/>
          </ac:spMkLst>
        </pc:spChg>
        <pc:spChg chg="add del mod">
          <ac:chgData name="STEPANCHENKO, D. (Dmitrii)" userId="30c9d29d-ac41-46ff-b2be-c3f5dd1e26e1" providerId="ADAL" clId="{0D4D30D3-52F8-490C-8E8C-24DC58349B06}" dt="2022-12-23T13:13:25.261" v="4958" actId="478"/>
          <ac:spMkLst>
            <pc:docMk/>
            <pc:sldMk cId="3121307498" sldId="2134806348"/>
            <ac:spMk id="10" creationId="{9C5A0EB6-2285-42A4-9102-5727E576FB60}"/>
          </ac:spMkLst>
        </pc:spChg>
        <pc:spChg chg="del">
          <ac:chgData name="STEPANCHENKO, D. (Dmitrii)" userId="30c9d29d-ac41-46ff-b2be-c3f5dd1e26e1" providerId="ADAL" clId="{0D4D30D3-52F8-490C-8E8C-24DC58349B06}" dt="2022-12-23T13:24:19.088" v="5644" actId="478"/>
          <ac:spMkLst>
            <pc:docMk/>
            <pc:sldMk cId="3121307498" sldId="2134806348"/>
            <ac:spMk id="12" creationId="{0752E6A3-4425-48A0-9570-33BE5F54B45C}"/>
          </ac:spMkLst>
        </pc:spChg>
        <pc:graphicFrameChg chg="del mod">
          <ac:chgData name="STEPANCHENKO, D. (Dmitrii)" userId="30c9d29d-ac41-46ff-b2be-c3f5dd1e26e1" providerId="ADAL" clId="{0D4D30D3-52F8-490C-8E8C-24DC58349B06}" dt="2022-12-23T13:13:20.438" v="4956" actId="478"/>
          <ac:graphicFrameMkLst>
            <pc:docMk/>
            <pc:sldMk cId="3121307498" sldId="2134806348"/>
            <ac:graphicFrameMk id="6" creationId="{13ED6E41-6289-460B-BAE9-304E921B4555}"/>
          </ac:graphicFrameMkLst>
        </pc:graphicFrameChg>
        <pc:graphicFrameChg chg="add mod modGraphic">
          <ac:chgData name="STEPANCHENKO, D. (Dmitrii)" userId="30c9d29d-ac41-46ff-b2be-c3f5dd1e26e1" providerId="ADAL" clId="{0D4D30D3-52F8-490C-8E8C-24DC58349B06}" dt="2022-12-23T14:30:54.685" v="7164"/>
          <ac:graphicFrameMkLst>
            <pc:docMk/>
            <pc:sldMk cId="3121307498" sldId="2134806348"/>
            <ac:graphicFrameMk id="7" creationId="{6FF43420-5F97-4112-B0D3-FE928926660A}"/>
          </ac:graphicFrameMkLst>
        </pc:graphicFrameChg>
        <pc:cxnChg chg="add del mod">
          <ac:chgData name="STEPANCHENKO, D. (Dmitrii)" userId="30c9d29d-ac41-46ff-b2be-c3f5dd1e26e1" providerId="ADAL" clId="{0D4D30D3-52F8-490C-8E8C-24DC58349B06}" dt="2022-12-23T13:13:25.261" v="4958" actId="478"/>
          <ac:cxnSpMkLst>
            <pc:docMk/>
            <pc:sldMk cId="3121307498" sldId="2134806348"/>
            <ac:cxnSpMk id="8" creationId="{FBB0DCA7-3FFF-4F92-88FA-366A28C7E215}"/>
          </ac:cxnSpMkLst>
        </pc:cxnChg>
        <pc:cxnChg chg="del">
          <ac:chgData name="STEPANCHENKO, D. (Dmitrii)" userId="30c9d29d-ac41-46ff-b2be-c3f5dd1e26e1" providerId="ADAL" clId="{0D4D30D3-52F8-490C-8E8C-24DC58349B06}" dt="2022-12-23T13:13:27.338" v="4959" actId="478"/>
          <ac:cxnSpMkLst>
            <pc:docMk/>
            <pc:sldMk cId="3121307498" sldId="2134806348"/>
            <ac:cxnSpMk id="9" creationId="{B0A39E29-580B-410B-94A4-8966AC40A585}"/>
          </ac:cxnSpMkLst>
        </pc:cxnChg>
        <pc:cxnChg chg="del">
          <ac:chgData name="STEPANCHENKO, D. (Dmitrii)" userId="30c9d29d-ac41-46ff-b2be-c3f5dd1e26e1" providerId="ADAL" clId="{0D4D30D3-52F8-490C-8E8C-24DC58349B06}" dt="2022-12-23T13:13:25.261" v="4958" actId="478"/>
          <ac:cxnSpMkLst>
            <pc:docMk/>
            <pc:sldMk cId="3121307498" sldId="2134806348"/>
            <ac:cxnSpMk id="11" creationId="{E502FB7F-08B3-473F-9827-C88F050F5A53}"/>
          </ac:cxnSpMkLst>
        </pc:cxnChg>
      </pc:sldChg>
      <pc:sldChg chg="add del">
        <pc:chgData name="STEPANCHENKO, D. (Dmitrii)" userId="30c9d29d-ac41-46ff-b2be-c3f5dd1e26e1" providerId="ADAL" clId="{0D4D30D3-52F8-490C-8E8C-24DC58349B06}" dt="2022-12-23T11:23:23.834" v="4279" actId="47"/>
        <pc:sldMkLst>
          <pc:docMk/>
          <pc:sldMk cId="124101785" sldId="2134806349"/>
        </pc:sldMkLst>
      </pc:sldChg>
      <pc:sldChg chg="addSp delSp modSp new mod">
        <pc:chgData name="STEPANCHENKO, D. (Dmitrii)" userId="30c9d29d-ac41-46ff-b2be-c3f5dd1e26e1" providerId="ADAL" clId="{0D4D30D3-52F8-490C-8E8C-24DC58349B06}" dt="2022-12-31T10:28:41.364" v="8161" actId="13926"/>
        <pc:sldMkLst>
          <pc:docMk/>
          <pc:sldMk cId="360950131" sldId="2134806349"/>
        </pc:sldMkLst>
        <pc:spChg chg="add mod">
          <ac:chgData name="STEPANCHENKO, D. (Dmitrii)" userId="30c9d29d-ac41-46ff-b2be-c3f5dd1e26e1" providerId="ADAL" clId="{0D4D30D3-52F8-490C-8E8C-24DC58349B06}" dt="2022-12-31T09:54:33.035" v="7679" actId="20577"/>
          <ac:spMkLst>
            <pc:docMk/>
            <pc:sldMk cId="360950131" sldId="2134806349"/>
            <ac:spMk id="3" creationId="{883B87B3-D1D2-4A3B-97F2-6F7840DB0C96}"/>
          </ac:spMkLst>
        </pc:spChg>
        <pc:spChg chg="add del mod">
          <ac:chgData name="STEPANCHENKO, D. (Dmitrii)" userId="30c9d29d-ac41-46ff-b2be-c3f5dd1e26e1" providerId="ADAL" clId="{0D4D30D3-52F8-490C-8E8C-24DC58349B06}" dt="2022-12-31T09:37:52.183" v="7497" actId="478"/>
          <ac:spMkLst>
            <pc:docMk/>
            <pc:sldMk cId="360950131" sldId="2134806349"/>
            <ac:spMk id="4" creationId="{EA22778B-F400-432D-BB24-0582B34F780D}"/>
          </ac:spMkLst>
        </pc:spChg>
        <pc:spChg chg="add del mod">
          <ac:chgData name="STEPANCHENKO, D. (Dmitrii)" userId="30c9d29d-ac41-46ff-b2be-c3f5dd1e26e1" providerId="ADAL" clId="{0D4D30D3-52F8-490C-8E8C-24DC58349B06}" dt="2022-12-31T09:49:43.387" v="7532" actId="478"/>
          <ac:spMkLst>
            <pc:docMk/>
            <pc:sldMk cId="360950131" sldId="2134806349"/>
            <ac:spMk id="5" creationId="{35860DDC-CD3B-48EA-A8E4-1728A29086D2}"/>
          </ac:spMkLst>
        </pc:spChg>
        <pc:spChg chg="add mod">
          <ac:chgData name="STEPANCHENKO, D. (Dmitrii)" userId="30c9d29d-ac41-46ff-b2be-c3f5dd1e26e1" providerId="ADAL" clId="{0D4D30D3-52F8-490C-8E8C-24DC58349B06}" dt="2022-12-31T09:58:04.720" v="7718" actId="113"/>
          <ac:spMkLst>
            <pc:docMk/>
            <pc:sldMk cId="360950131" sldId="2134806349"/>
            <ac:spMk id="6" creationId="{71D31709-4D55-4C34-ADBC-AA0A4AD2523F}"/>
          </ac:spMkLst>
        </pc:spChg>
        <pc:spChg chg="add mod">
          <ac:chgData name="STEPANCHENKO, D. (Dmitrii)" userId="30c9d29d-ac41-46ff-b2be-c3f5dd1e26e1" providerId="ADAL" clId="{0D4D30D3-52F8-490C-8E8C-24DC58349B06}" dt="2022-12-31T09:54:27.159" v="7675" actId="20577"/>
          <ac:spMkLst>
            <pc:docMk/>
            <pc:sldMk cId="360950131" sldId="2134806349"/>
            <ac:spMk id="7" creationId="{9553823D-25F9-4338-8CFF-88676D4B8CD0}"/>
          </ac:spMkLst>
        </pc:spChg>
        <pc:spChg chg="add del mod">
          <ac:chgData name="STEPANCHENKO, D. (Dmitrii)" userId="30c9d29d-ac41-46ff-b2be-c3f5dd1e26e1" providerId="ADAL" clId="{0D4D30D3-52F8-490C-8E8C-24DC58349B06}" dt="2022-12-31T09:53:46.647" v="7668"/>
          <ac:spMkLst>
            <pc:docMk/>
            <pc:sldMk cId="360950131" sldId="2134806349"/>
            <ac:spMk id="8" creationId="{0BB210D5-AE4A-468F-B8D7-D821D5F51960}"/>
          </ac:spMkLst>
        </pc:spChg>
        <pc:spChg chg="add mod">
          <ac:chgData name="STEPANCHENKO, D. (Dmitrii)" userId="30c9d29d-ac41-46ff-b2be-c3f5dd1e26e1" providerId="ADAL" clId="{0D4D30D3-52F8-490C-8E8C-24DC58349B06}" dt="2022-12-31T10:15:45.190" v="7950" actId="1035"/>
          <ac:spMkLst>
            <pc:docMk/>
            <pc:sldMk cId="360950131" sldId="2134806349"/>
            <ac:spMk id="9" creationId="{F862E89A-04D9-42DC-8E11-7E5508016823}"/>
          </ac:spMkLst>
        </pc:spChg>
        <pc:spChg chg="add mod">
          <ac:chgData name="STEPANCHENKO, D. (Dmitrii)" userId="30c9d29d-ac41-46ff-b2be-c3f5dd1e26e1" providerId="ADAL" clId="{0D4D30D3-52F8-490C-8E8C-24DC58349B06}" dt="2022-12-31T10:01:09.537" v="7768" actId="20577"/>
          <ac:spMkLst>
            <pc:docMk/>
            <pc:sldMk cId="360950131" sldId="2134806349"/>
            <ac:spMk id="10" creationId="{2254E375-2FB3-4511-9C58-9442856C2042}"/>
          </ac:spMkLst>
        </pc:spChg>
        <pc:spChg chg="add mod">
          <ac:chgData name="STEPANCHENKO, D. (Dmitrii)" userId="30c9d29d-ac41-46ff-b2be-c3f5dd1e26e1" providerId="ADAL" clId="{0D4D30D3-52F8-490C-8E8C-24DC58349B06}" dt="2022-12-31T10:01:28.341" v="7769" actId="20577"/>
          <ac:spMkLst>
            <pc:docMk/>
            <pc:sldMk cId="360950131" sldId="2134806349"/>
            <ac:spMk id="11" creationId="{75116657-C492-4787-B89F-2E382C74A770}"/>
          </ac:spMkLst>
        </pc:spChg>
        <pc:spChg chg="add del mod">
          <ac:chgData name="STEPANCHENKO, D. (Dmitrii)" userId="30c9d29d-ac41-46ff-b2be-c3f5dd1e26e1" providerId="ADAL" clId="{0D4D30D3-52F8-490C-8E8C-24DC58349B06}" dt="2022-12-31T10:16:20.435" v="7958"/>
          <ac:spMkLst>
            <pc:docMk/>
            <pc:sldMk cId="360950131" sldId="2134806349"/>
            <ac:spMk id="12" creationId="{8CECEFCD-8BBE-46F4-A15C-222771981066}"/>
          </ac:spMkLst>
        </pc:spChg>
        <pc:spChg chg="add mod">
          <ac:chgData name="STEPANCHENKO, D. (Dmitrii)" userId="30c9d29d-ac41-46ff-b2be-c3f5dd1e26e1" providerId="ADAL" clId="{0D4D30D3-52F8-490C-8E8C-24DC58349B06}" dt="2022-12-31T10:15:30.102" v="7930" actId="208"/>
          <ac:spMkLst>
            <pc:docMk/>
            <pc:sldMk cId="360950131" sldId="2134806349"/>
            <ac:spMk id="13" creationId="{C3176AA9-79B2-4078-AB48-06CE14816A48}"/>
          </ac:spMkLst>
        </pc:spChg>
        <pc:spChg chg="add mod">
          <ac:chgData name="STEPANCHENKO, D. (Dmitrii)" userId="30c9d29d-ac41-46ff-b2be-c3f5dd1e26e1" providerId="ADAL" clId="{0D4D30D3-52F8-490C-8E8C-24DC58349B06}" dt="2022-12-31T10:15:40.795" v="7933" actId="14100"/>
          <ac:spMkLst>
            <pc:docMk/>
            <pc:sldMk cId="360950131" sldId="2134806349"/>
            <ac:spMk id="14" creationId="{259EA7A0-89DC-4662-ADF7-A34222303E96}"/>
          </ac:spMkLst>
        </pc:spChg>
        <pc:spChg chg="add mod">
          <ac:chgData name="STEPANCHENKO, D. (Dmitrii)" userId="30c9d29d-ac41-46ff-b2be-c3f5dd1e26e1" providerId="ADAL" clId="{0D4D30D3-52F8-490C-8E8C-24DC58349B06}" dt="2022-12-31T10:16:03.576" v="7953" actId="208"/>
          <ac:spMkLst>
            <pc:docMk/>
            <pc:sldMk cId="360950131" sldId="2134806349"/>
            <ac:spMk id="15" creationId="{E6217700-48BD-4F57-ABEE-041604653B78}"/>
          </ac:spMkLst>
        </pc:spChg>
        <pc:spChg chg="add mod">
          <ac:chgData name="STEPANCHENKO, D. (Dmitrii)" userId="30c9d29d-ac41-46ff-b2be-c3f5dd1e26e1" providerId="ADAL" clId="{0D4D30D3-52F8-490C-8E8C-24DC58349B06}" dt="2022-12-31T10:19:52.317" v="7978" actId="1076"/>
          <ac:spMkLst>
            <pc:docMk/>
            <pc:sldMk cId="360950131" sldId="2134806349"/>
            <ac:spMk id="21" creationId="{A3D901E1-D7CE-442B-B7D6-9C2E29C94163}"/>
          </ac:spMkLst>
        </pc:spChg>
        <pc:spChg chg="add mod">
          <ac:chgData name="STEPANCHENKO, D. (Dmitrii)" userId="30c9d29d-ac41-46ff-b2be-c3f5dd1e26e1" providerId="ADAL" clId="{0D4D30D3-52F8-490C-8E8C-24DC58349B06}" dt="2022-12-31T10:20:11.377" v="7982" actId="1076"/>
          <ac:spMkLst>
            <pc:docMk/>
            <pc:sldMk cId="360950131" sldId="2134806349"/>
            <ac:spMk id="23" creationId="{5DED1613-F425-403B-900C-6746670A4E2E}"/>
          </ac:spMkLst>
        </pc:spChg>
        <pc:spChg chg="add mod">
          <ac:chgData name="STEPANCHENKO, D. (Dmitrii)" userId="30c9d29d-ac41-46ff-b2be-c3f5dd1e26e1" providerId="ADAL" clId="{0D4D30D3-52F8-490C-8E8C-24DC58349B06}" dt="2022-12-31T10:27:36.217" v="8068" actId="207"/>
          <ac:spMkLst>
            <pc:docMk/>
            <pc:sldMk cId="360950131" sldId="2134806349"/>
            <ac:spMk id="24" creationId="{C56E59CD-596D-4481-96B1-A5922026B5E6}"/>
          </ac:spMkLst>
        </pc:spChg>
        <pc:spChg chg="add mod">
          <ac:chgData name="STEPANCHENKO, D. (Dmitrii)" userId="30c9d29d-ac41-46ff-b2be-c3f5dd1e26e1" providerId="ADAL" clId="{0D4D30D3-52F8-490C-8E8C-24DC58349B06}" dt="2022-12-31T10:28:41.364" v="8161" actId="13926"/>
          <ac:spMkLst>
            <pc:docMk/>
            <pc:sldMk cId="360950131" sldId="2134806349"/>
            <ac:spMk id="25" creationId="{3791451D-F1FF-4866-BEE7-76DB3C40E6CC}"/>
          </ac:spMkLst>
        </pc:spChg>
        <pc:picChg chg="add mod">
          <ac:chgData name="STEPANCHENKO, D. (Dmitrii)" userId="30c9d29d-ac41-46ff-b2be-c3f5dd1e26e1" providerId="ADAL" clId="{0D4D30D3-52F8-490C-8E8C-24DC58349B06}" dt="2022-12-31T10:27:14.788" v="8062" actId="2085"/>
          <ac:picMkLst>
            <pc:docMk/>
            <pc:sldMk cId="360950131" sldId="2134806349"/>
            <ac:picMk id="19" creationId="{E9D36FD0-7880-46B9-BE12-852B3DFACF76}"/>
          </ac:picMkLst>
        </pc:picChg>
        <pc:cxnChg chg="add mod">
          <ac:chgData name="STEPANCHENKO, D. (Dmitrii)" userId="30c9d29d-ac41-46ff-b2be-c3f5dd1e26e1" providerId="ADAL" clId="{0D4D30D3-52F8-490C-8E8C-24DC58349B06}" dt="2022-12-31T10:16:12.677" v="7955" actId="208"/>
          <ac:cxnSpMkLst>
            <pc:docMk/>
            <pc:sldMk cId="360950131" sldId="2134806349"/>
            <ac:cxnSpMk id="17" creationId="{3EE0A07F-DE4D-4BE0-AC12-E01AFA9531B8}"/>
          </ac:cxnSpMkLst>
        </pc:cxnChg>
      </pc:sldChg>
      <pc:sldChg chg="add del">
        <pc:chgData name="STEPANCHENKO, D. (Dmitrii)" userId="30c9d29d-ac41-46ff-b2be-c3f5dd1e26e1" providerId="ADAL" clId="{0D4D30D3-52F8-490C-8E8C-24DC58349B06}" dt="2022-12-23T13:57:58.859" v="7139" actId="47"/>
        <pc:sldMkLst>
          <pc:docMk/>
          <pc:sldMk cId="4208811984" sldId="2134806349"/>
        </pc:sldMkLst>
      </pc:sldChg>
      <pc:sldChg chg="add del">
        <pc:chgData name="STEPANCHENKO, D. (Dmitrii)" userId="30c9d29d-ac41-46ff-b2be-c3f5dd1e26e1" providerId="ADAL" clId="{0D4D30D3-52F8-490C-8E8C-24DC58349B06}" dt="2022-12-23T11:23:23.834" v="4279" actId="47"/>
        <pc:sldMkLst>
          <pc:docMk/>
          <pc:sldMk cId="493320302" sldId="2134806350"/>
        </pc:sldMkLst>
      </pc:sldChg>
    </pc:docChg>
  </pc:docChgLst>
  <pc:docChgLst>
    <pc:chgData name="STEPANCHENKO, D. (Dmitrii)" userId="30c9d29d-ac41-46ff-b2be-c3f5dd1e26e1" providerId="ADAL" clId="{AECDBD64-E75C-4C05-9678-D3B35BDA44EC}"/>
    <pc:docChg chg="undo redo custSel addSld delSld modSld sldOrd modSection">
      <pc:chgData name="STEPANCHENKO, D. (Dmitrii)" userId="30c9d29d-ac41-46ff-b2be-c3f5dd1e26e1" providerId="ADAL" clId="{AECDBD64-E75C-4C05-9678-D3B35BDA44EC}" dt="2023-01-28T09:22:12.054" v="8181" actId="729"/>
      <pc:docMkLst>
        <pc:docMk/>
      </pc:docMkLst>
      <pc:sldChg chg="modSp mod">
        <pc:chgData name="STEPANCHENKO, D. (Dmitrii)" userId="30c9d29d-ac41-46ff-b2be-c3f5dd1e26e1" providerId="ADAL" clId="{AECDBD64-E75C-4C05-9678-D3B35BDA44EC}" dt="2023-01-05T16:52:21.942" v="8" actId="1076"/>
        <pc:sldMkLst>
          <pc:docMk/>
          <pc:sldMk cId="1150082579" sldId="2134806261"/>
        </pc:sldMkLst>
        <pc:spChg chg="mod">
          <ac:chgData name="STEPANCHENKO, D. (Dmitrii)" userId="30c9d29d-ac41-46ff-b2be-c3f5dd1e26e1" providerId="ADAL" clId="{AECDBD64-E75C-4C05-9678-D3B35BDA44EC}" dt="2023-01-05T16:52:21.942" v="8" actId="1076"/>
          <ac:spMkLst>
            <pc:docMk/>
            <pc:sldMk cId="1150082579" sldId="2134806261"/>
            <ac:spMk id="7" creationId="{00000000-0000-0000-0000-000000000000}"/>
          </ac:spMkLst>
        </pc:spChg>
      </pc:sldChg>
      <pc:sldChg chg="addSp modSp mod modAnim">
        <pc:chgData name="STEPANCHENKO, D. (Dmitrii)" userId="30c9d29d-ac41-46ff-b2be-c3f5dd1e26e1" providerId="ADAL" clId="{AECDBD64-E75C-4C05-9678-D3B35BDA44EC}" dt="2023-01-21T07:44:18.279" v="5627"/>
        <pc:sldMkLst>
          <pc:docMk/>
          <pc:sldMk cId="826615147" sldId="2134806265"/>
        </pc:sldMkLst>
        <pc:spChg chg="mod">
          <ac:chgData name="STEPANCHENKO, D. (Dmitrii)" userId="30c9d29d-ac41-46ff-b2be-c3f5dd1e26e1" providerId="ADAL" clId="{AECDBD64-E75C-4C05-9678-D3B35BDA44EC}" dt="2023-01-21T07:43:48.734" v="5621" actId="20577"/>
          <ac:spMkLst>
            <pc:docMk/>
            <pc:sldMk cId="826615147" sldId="2134806265"/>
            <ac:spMk id="3" creationId="{00000000-0000-0000-0000-000000000000}"/>
          </ac:spMkLst>
        </pc:spChg>
        <pc:spChg chg="add mod">
          <ac:chgData name="STEPANCHENKO, D. (Dmitrii)" userId="30c9d29d-ac41-46ff-b2be-c3f5dd1e26e1" providerId="ADAL" clId="{AECDBD64-E75C-4C05-9678-D3B35BDA44EC}" dt="2023-01-21T07:44:01.114" v="5625" actId="14100"/>
          <ac:spMkLst>
            <pc:docMk/>
            <pc:sldMk cId="826615147" sldId="2134806265"/>
            <ac:spMk id="7" creationId="{6D4CA871-D773-1923-93F4-200B8F534473}"/>
          </ac:spMkLst>
        </pc:spChg>
        <pc:spChg chg="mod">
          <ac:chgData name="STEPANCHENKO, D. (Dmitrii)" userId="30c9d29d-ac41-46ff-b2be-c3f5dd1e26e1" providerId="ADAL" clId="{AECDBD64-E75C-4C05-9678-D3B35BDA44EC}" dt="2023-01-21T07:42:09.881" v="5608" actId="1038"/>
          <ac:spMkLst>
            <pc:docMk/>
            <pc:sldMk cId="826615147" sldId="2134806265"/>
            <ac:spMk id="9" creationId="{00000000-0000-0000-0000-000000000000}"/>
          </ac:spMkLst>
        </pc:spChg>
      </pc:sldChg>
      <pc:sldChg chg="addSp delSp modSp mod">
        <pc:chgData name="STEPANCHENKO, D. (Dmitrii)" userId="30c9d29d-ac41-46ff-b2be-c3f5dd1e26e1" providerId="ADAL" clId="{AECDBD64-E75C-4C05-9678-D3B35BDA44EC}" dt="2023-01-26T14:46:10.959" v="8007"/>
        <pc:sldMkLst>
          <pc:docMk/>
          <pc:sldMk cId="4146022198" sldId="2134806269"/>
        </pc:sldMkLst>
        <pc:spChg chg="add mod">
          <ac:chgData name="STEPANCHENKO, D. (Dmitrii)" userId="30c9d29d-ac41-46ff-b2be-c3f5dd1e26e1" providerId="ADAL" clId="{AECDBD64-E75C-4C05-9678-D3B35BDA44EC}" dt="2023-01-26T14:46:10.959" v="8007"/>
          <ac:spMkLst>
            <pc:docMk/>
            <pc:sldMk cId="4146022198" sldId="2134806269"/>
            <ac:spMk id="3" creationId="{A27F57D4-A9B3-09B0-FE14-6C2E38A57A8A}"/>
          </ac:spMkLst>
        </pc:spChg>
        <pc:spChg chg="mod">
          <ac:chgData name="STEPANCHENKO, D. (Dmitrii)" userId="30c9d29d-ac41-46ff-b2be-c3f5dd1e26e1" providerId="ADAL" clId="{AECDBD64-E75C-4C05-9678-D3B35BDA44EC}" dt="2023-01-17T12:50:32.279" v="4454" actId="20577"/>
          <ac:spMkLst>
            <pc:docMk/>
            <pc:sldMk cId="4146022198" sldId="2134806269"/>
            <ac:spMk id="4" creationId="{E704B17B-2B24-A94D-BEEB-3665EC84CBC2}"/>
          </ac:spMkLst>
        </pc:spChg>
        <pc:spChg chg="del">
          <ac:chgData name="STEPANCHENKO, D. (Dmitrii)" userId="30c9d29d-ac41-46ff-b2be-c3f5dd1e26e1" providerId="ADAL" clId="{AECDBD64-E75C-4C05-9678-D3B35BDA44EC}" dt="2023-01-21T07:46:45.948" v="5628" actId="478"/>
          <ac:spMkLst>
            <pc:docMk/>
            <pc:sldMk cId="4146022198" sldId="2134806269"/>
            <ac:spMk id="9" creationId="{0321E1AF-71DF-9F4F-49D4-42B6DEF18470}"/>
          </ac:spMkLst>
        </pc:spChg>
      </pc:sldChg>
      <pc:sldChg chg="addSp modSp mod modAnim">
        <pc:chgData name="STEPANCHENKO, D. (Dmitrii)" userId="30c9d29d-ac41-46ff-b2be-c3f5dd1e26e1" providerId="ADAL" clId="{AECDBD64-E75C-4C05-9678-D3B35BDA44EC}" dt="2023-01-21T07:41:03.362" v="5592"/>
        <pc:sldMkLst>
          <pc:docMk/>
          <pc:sldMk cId="1937308450" sldId="2134806270"/>
        </pc:sldMkLst>
        <pc:spChg chg="mod">
          <ac:chgData name="STEPANCHENKO, D. (Dmitrii)" userId="30c9d29d-ac41-46ff-b2be-c3f5dd1e26e1" providerId="ADAL" clId="{AECDBD64-E75C-4C05-9678-D3B35BDA44EC}" dt="2023-01-21T07:39:56.088" v="5587" actId="20577"/>
          <ac:spMkLst>
            <pc:docMk/>
            <pc:sldMk cId="1937308450" sldId="2134806270"/>
            <ac:spMk id="5" creationId="{81BD1123-3626-1C45-BF5B-1C1864FA8AFA}"/>
          </ac:spMkLst>
        </pc:spChg>
        <pc:spChg chg="mod">
          <ac:chgData name="STEPANCHENKO, D. (Dmitrii)" userId="30c9d29d-ac41-46ff-b2be-c3f5dd1e26e1" providerId="ADAL" clId="{AECDBD64-E75C-4C05-9678-D3B35BDA44EC}" dt="2023-01-17T12:46:09.547" v="4394" actId="14100"/>
          <ac:spMkLst>
            <pc:docMk/>
            <pc:sldMk cId="1937308450" sldId="2134806270"/>
            <ac:spMk id="13" creationId="{D0F5E880-23A1-0B1F-8822-6311867CBE2F}"/>
          </ac:spMkLst>
        </pc:spChg>
        <pc:picChg chg="add mod">
          <ac:chgData name="STEPANCHENKO, D. (Dmitrii)" userId="30c9d29d-ac41-46ff-b2be-c3f5dd1e26e1" providerId="ADAL" clId="{AECDBD64-E75C-4C05-9678-D3B35BDA44EC}" dt="2023-01-21T07:40:53.022" v="5591" actId="14100"/>
          <ac:picMkLst>
            <pc:docMk/>
            <pc:sldMk cId="1937308450" sldId="2134806270"/>
            <ac:picMk id="4" creationId="{0619EBE1-0113-276A-8017-1672F93BFF8E}"/>
          </ac:picMkLst>
        </pc:picChg>
      </pc:sldChg>
      <pc:sldChg chg="addSp delSp modSp mod">
        <pc:chgData name="STEPANCHENKO, D. (Dmitrii)" userId="30c9d29d-ac41-46ff-b2be-c3f5dd1e26e1" providerId="ADAL" clId="{AECDBD64-E75C-4C05-9678-D3B35BDA44EC}" dt="2023-01-26T14:46:08.904" v="8006" actId="21"/>
        <pc:sldMkLst>
          <pc:docMk/>
          <pc:sldMk cId="3806807723" sldId="2134806271"/>
        </pc:sldMkLst>
        <pc:spChg chg="add del mod">
          <ac:chgData name="STEPANCHENKO, D. (Dmitrii)" userId="30c9d29d-ac41-46ff-b2be-c3f5dd1e26e1" providerId="ADAL" clId="{AECDBD64-E75C-4C05-9678-D3B35BDA44EC}" dt="2023-01-26T14:46:08.904" v="8006" actId="21"/>
          <ac:spMkLst>
            <pc:docMk/>
            <pc:sldMk cId="3806807723" sldId="2134806271"/>
            <ac:spMk id="3" creationId="{E40C9FF6-E2EB-6E98-C740-A91B97198C40}"/>
          </ac:spMkLst>
        </pc:spChg>
      </pc:sldChg>
      <pc:sldChg chg="addSp delSp modSp mod">
        <pc:chgData name="STEPANCHENKO, D. (Dmitrii)" userId="30c9d29d-ac41-46ff-b2be-c3f5dd1e26e1" providerId="ADAL" clId="{AECDBD64-E75C-4C05-9678-D3B35BDA44EC}" dt="2023-01-28T09:10:30.067" v="8180" actId="20577"/>
        <pc:sldMkLst>
          <pc:docMk/>
          <pc:sldMk cId="2322687294" sldId="2134806289"/>
        </pc:sldMkLst>
        <pc:spChg chg="add mod">
          <ac:chgData name="STEPANCHENKO, D. (Dmitrii)" userId="30c9d29d-ac41-46ff-b2be-c3f5dd1e26e1" providerId="ADAL" clId="{AECDBD64-E75C-4C05-9678-D3B35BDA44EC}" dt="2023-01-28T09:10:30.067" v="8180" actId="20577"/>
          <ac:spMkLst>
            <pc:docMk/>
            <pc:sldMk cId="2322687294" sldId="2134806289"/>
            <ac:spMk id="4" creationId="{FABF48EB-F5DD-73B7-0214-661762AC84D0}"/>
          </ac:spMkLst>
        </pc:spChg>
        <pc:spChg chg="mod">
          <ac:chgData name="STEPANCHENKO, D. (Dmitrii)" userId="30c9d29d-ac41-46ff-b2be-c3f5dd1e26e1" providerId="ADAL" clId="{AECDBD64-E75C-4C05-9678-D3B35BDA44EC}" dt="2023-01-26T13:33:01.598" v="7461" actId="255"/>
          <ac:spMkLst>
            <pc:docMk/>
            <pc:sldMk cId="2322687294" sldId="2134806289"/>
            <ac:spMk id="6" creationId="{7304A516-7872-1BDB-C272-35B46237BDC5}"/>
          </ac:spMkLst>
        </pc:spChg>
        <pc:spChg chg="mod">
          <ac:chgData name="STEPANCHENKO, D. (Dmitrii)" userId="30c9d29d-ac41-46ff-b2be-c3f5dd1e26e1" providerId="ADAL" clId="{AECDBD64-E75C-4C05-9678-D3B35BDA44EC}" dt="2023-01-26T13:33:15.252" v="7502" actId="1035"/>
          <ac:spMkLst>
            <pc:docMk/>
            <pc:sldMk cId="2322687294" sldId="2134806289"/>
            <ac:spMk id="9" creationId="{17E51F88-4398-76C0-3DF9-8503C88BEBE1}"/>
          </ac:spMkLst>
        </pc:spChg>
        <pc:spChg chg="add del">
          <ac:chgData name="STEPANCHENKO, D. (Dmitrii)" userId="30c9d29d-ac41-46ff-b2be-c3f5dd1e26e1" providerId="ADAL" clId="{AECDBD64-E75C-4C05-9678-D3B35BDA44EC}" dt="2023-01-28T09:08:42.159" v="8178" actId="478"/>
          <ac:spMkLst>
            <pc:docMk/>
            <pc:sldMk cId="2322687294" sldId="2134806289"/>
            <ac:spMk id="10" creationId="{4E427729-0D39-ED08-E5B8-FA2E3D08BE23}"/>
          </ac:spMkLst>
        </pc:spChg>
        <pc:graphicFrameChg chg="mod">
          <ac:chgData name="STEPANCHENKO, D. (Dmitrii)" userId="30c9d29d-ac41-46ff-b2be-c3f5dd1e26e1" providerId="ADAL" clId="{AECDBD64-E75C-4C05-9678-D3B35BDA44EC}" dt="2023-01-26T13:33:28.627" v="7504" actId="14100"/>
          <ac:graphicFrameMkLst>
            <pc:docMk/>
            <pc:sldMk cId="2322687294" sldId="2134806289"/>
            <ac:graphicFrameMk id="3" creationId="{A12E7895-C2CC-4F97-8797-1EDFDB6BAB8A}"/>
          </ac:graphicFrameMkLst>
        </pc:graphicFrameChg>
        <pc:graphicFrameChg chg="mod">
          <ac:chgData name="STEPANCHENKO, D. (Dmitrii)" userId="30c9d29d-ac41-46ff-b2be-c3f5dd1e26e1" providerId="ADAL" clId="{AECDBD64-E75C-4C05-9678-D3B35BDA44EC}" dt="2023-01-26T13:33:20.612" v="7503" actId="14100"/>
          <ac:graphicFrameMkLst>
            <pc:docMk/>
            <pc:sldMk cId="2322687294" sldId="2134806289"/>
            <ac:graphicFrameMk id="8" creationId="{1A4ACF02-C0D9-4956-8284-1CE9DD6E2608}"/>
          </ac:graphicFrameMkLst>
        </pc:graphicFrameChg>
      </pc:sldChg>
      <pc:sldChg chg="modSp mod">
        <pc:chgData name="STEPANCHENKO, D. (Dmitrii)" userId="30c9d29d-ac41-46ff-b2be-c3f5dd1e26e1" providerId="ADAL" clId="{AECDBD64-E75C-4C05-9678-D3B35BDA44EC}" dt="2023-01-26T14:41:51.002" v="7970" actId="313"/>
        <pc:sldMkLst>
          <pc:docMk/>
          <pc:sldMk cId="1987294738" sldId="2134806293"/>
        </pc:sldMkLst>
        <pc:spChg chg="mod">
          <ac:chgData name="STEPANCHENKO, D. (Dmitrii)" userId="30c9d29d-ac41-46ff-b2be-c3f5dd1e26e1" providerId="ADAL" clId="{AECDBD64-E75C-4C05-9678-D3B35BDA44EC}" dt="2023-01-26T14:41:51.002" v="7970" actId="313"/>
          <ac:spMkLst>
            <pc:docMk/>
            <pc:sldMk cId="1987294738" sldId="2134806293"/>
            <ac:spMk id="11" creationId="{4A89C080-E02A-4114-9A18-64ED1A28D56E}"/>
          </ac:spMkLst>
        </pc:spChg>
        <pc:spChg chg="mod">
          <ac:chgData name="STEPANCHENKO, D. (Dmitrii)" userId="30c9d29d-ac41-46ff-b2be-c3f5dd1e26e1" providerId="ADAL" clId="{AECDBD64-E75C-4C05-9678-D3B35BDA44EC}" dt="2023-01-26T14:26:25.273" v="7947" actId="1036"/>
          <ac:spMkLst>
            <pc:docMk/>
            <pc:sldMk cId="1987294738" sldId="2134806293"/>
            <ac:spMk id="12" creationId="{5BECD0C1-26C4-4E02-BB63-25E01F272DF2}"/>
          </ac:spMkLst>
        </pc:spChg>
        <pc:spChg chg="mod">
          <ac:chgData name="STEPANCHENKO, D. (Dmitrii)" userId="30c9d29d-ac41-46ff-b2be-c3f5dd1e26e1" providerId="ADAL" clId="{AECDBD64-E75C-4C05-9678-D3B35BDA44EC}" dt="2023-01-26T14:26:25.273" v="7947" actId="1036"/>
          <ac:spMkLst>
            <pc:docMk/>
            <pc:sldMk cId="1987294738" sldId="2134806293"/>
            <ac:spMk id="13" creationId="{4D660AA7-3162-4D46-B4E1-8000203E46DB}"/>
          </ac:spMkLst>
        </pc:spChg>
        <pc:picChg chg="mod">
          <ac:chgData name="STEPANCHENKO, D. (Dmitrii)" userId="30c9d29d-ac41-46ff-b2be-c3f5dd1e26e1" providerId="ADAL" clId="{AECDBD64-E75C-4C05-9678-D3B35BDA44EC}" dt="2023-01-26T14:26:15.306" v="7930" actId="1036"/>
          <ac:picMkLst>
            <pc:docMk/>
            <pc:sldMk cId="1987294738" sldId="2134806293"/>
            <ac:picMk id="7" creationId="{DA22D0AB-A3F3-4384-959B-21FC75464F37}"/>
          </ac:picMkLst>
        </pc:picChg>
        <pc:picChg chg="mod">
          <ac:chgData name="STEPANCHENKO, D. (Dmitrii)" userId="30c9d29d-ac41-46ff-b2be-c3f5dd1e26e1" providerId="ADAL" clId="{AECDBD64-E75C-4C05-9678-D3B35BDA44EC}" dt="2023-01-26T14:26:15.306" v="7930" actId="1036"/>
          <ac:picMkLst>
            <pc:docMk/>
            <pc:sldMk cId="1987294738" sldId="2134806293"/>
            <ac:picMk id="9" creationId="{D4025C18-5336-4476-B071-56F399D22E06}"/>
          </ac:picMkLst>
        </pc:picChg>
      </pc:sldChg>
      <pc:sldChg chg="addSp delSp modSp mod addCm delCm">
        <pc:chgData name="STEPANCHENKO, D. (Dmitrii)" userId="30c9d29d-ac41-46ff-b2be-c3f5dd1e26e1" providerId="ADAL" clId="{AECDBD64-E75C-4C05-9678-D3B35BDA44EC}" dt="2023-01-26T14:41:04.034" v="7969" actId="478"/>
        <pc:sldMkLst>
          <pc:docMk/>
          <pc:sldMk cId="860713518" sldId="2134806317"/>
        </pc:sldMkLst>
        <pc:spChg chg="mod">
          <ac:chgData name="STEPANCHENKO, D. (Dmitrii)" userId="30c9d29d-ac41-46ff-b2be-c3f5dd1e26e1" providerId="ADAL" clId="{AECDBD64-E75C-4C05-9678-D3B35BDA44EC}" dt="2023-01-26T13:08:26.036" v="6964" actId="20577"/>
          <ac:spMkLst>
            <pc:docMk/>
            <pc:sldMk cId="860713518" sldId="2134806317"/>
            <ac:spMk id="6" creationId="{CA023485-E4D0-17B0-F130-39357FD06C63}"/>
          </ac:spMkLst>
        </pc:spChg>
        <pc:graphicFrameChg chg="add del">
          <ac:chgData name="STEPANCHENKO, D. (Dmitrii)" userId="30c9d29d-ac41-46ff-b2be-c3f5dd1e26e1" providerId="ADAL" clId="{AECDBD64-E75C-4C05-9678-D3B35BDA44EC}" dt="2023-01-26T14:41:04.034" v="7969" actId="478"/>
          <ac:graphicFrameMkLst>
            <pc:docMk/>
            <pc:sldMk cId="860713518" sldId="2134806317"/>
            <ac:graphicFrameMk id="14" creationId="{C3AE15A4-BE13-59C3-1E96-9113C817F12F}"/>
          </ac:graphicFrameMkLst>
        </pc:graphicFrameChg>
      </pc:sldChg>
      <pc:sldChg chg="modSp mod">
        <pc:chgData name="STEPANCHENKO, D. (Dmitrii)" userId="30c9d29d-ac41-46ff-b2be-c3f5dd1e26e1" providerId="ADAL" clId="{AECDBD64-E75C-4C05-9678-D3B35BDA44EC}" dt="2023-01-17T12:41:34.749" v="4315" actId="20577"/>
        <pc:sldMkLst>
          <pc:docMk/>
          <pc:sldMk cId="328194484" sldId="2134806320"/>
        </pc:sldMkLst>
        <pc:spChg chg="mod">
          <ac:chgData name="STEPANCHENKO, D. (Dmitrii)" userId="30c9d29d-ac41-46ff-b2be-c3f5dd1e26e1" providerId="ADAL" clId="{AECDBD64-E75C-4C05-9678-D3B35BDA44EC}" dt="2023-01-17T12:41:34.749" v="4315" actId="20577"/>
          <ac:spMkLst>
            <pc:docMk/>
            <pc:sldMk cId="328194484" sldId="2134806320"/>
            <ac:spMk id="9" creationId="{93BE4C8E-A918-63CA-7D49-B8A18393AE70}"/>
          </ac:spMkLst>
        </pc:spChg>
      </pc:sldChg>
      <pc:sldChg chg="addSp delSp modSp mod">
        <pc:chgData name="STEPANCHENKO, D. (Dmitrii)" userId="30c9d29d-ac41-46ff-b2be-c3f5dd1e26e1" providerId="ADAL" clId="{AECDBD64-E75C-4C05-9678-D3B35BDA44EC}" dt="2023-01-28T07:38:08.807" v="8032" actId="207"/>
        <pc:sldMkLst>
          <pc:docMk/>
          <pc:sldMk cId="931874431" sldId="2134806321"/>
        </pc:sldMkLst>
        <pc:spChg chg="add del">
          <ac:chgData name="STEPANCHENKO, D. (Dmitrii)" userId="30c9d29d-ac41-46ff-b2be-c3f5dd1e26e1" providerId="ADAL" clId="{AECDBD64-E75C-4C05-9678-D3B35BDA44EC}" dt="2023-01-20T13:07:29.142" v="4804" actId="11529"/>
          <ac:spMkLst>
            <pc:docMk/>
            <pc:sldMk cId="931874431" sldId="2134806321"/>
            <ac:spMk id="3" creationId="{C92072A8-26D6-2AC5-0C89-633F93DD74FA}"/>
          </ac:spMkLst>
        </pc:spChg>
        <pc:spChg chg="add del">
          <ac:chgData name="STEPANCHENKO, D. (Dmitrii)" userId="30c9d29d-ac41-46ff-b2be-c3f5dd1e26e1" providerId="ADAL" clId="{AECDBD64-E75C-4C05-9678-D3B35BDA44EC}" dt="2023-01-20T13:07:59.881" v="4808" actId="478"/>
          <ac:spMkLst>
            <pc:docMk/>
            <pc:sldMk cId="931874431" sldId="2134806321"/>
            <ac:spMk id="4" creationId="{9966BA67-798A-4A89-7C6D-F86BB2B3D60C}"/>
          </ac:spMkLst>
        </pc:spChg>
        <pc:spChg chg="add mod">
          <ac:chgData name="STEPANCHENKO, D. (Dmitrii)" userId="30c9d29d-ac41-46ff-b2be-c3f5dd1e26e1" providerId="ADAL" clId="{AECDBD64-E75C-4C05-9678-D3B35BDA44EC}" dt="2023-01-26T13:04:05.889" v="6849" actId="1036"/>
          <ac:spMkLst>
            <pc:docMk/>
            <pc:sldMk cId="931874431" sldId="2134806321"/>
            <ac:spMk id="6" creationId="{AE0CF21A-7EEC-2647-7CE1-4307193910B5}"/>
          </ac:spMkLst>
        </pc:spChg>
        <pc:spChg chg="add del mod">
          <ac:chgData name="STEPANCHENKO, D. (Dmitrii)" userId="30c9d29d-ac41-46ff-b2be-c3f5dd1e26e1" providerId="ADAL" clId="{AECDBD64-E75C-4C05-9678-D3B35BDA44EC}" dt="2023-01-20T13:10:14.999" v="4870" actId="478"/>
          <ac:spMkLst>
            <pc:docMk/>
            <pc:sldMk cId="931874431" sldId="2134806321"/>
            <ac:spMk id="7" creationId="{0B0F0228-4BA9-1EC3-D47A-DECC3A6294C9}"/>
          </ac:spMkLst>
        </pc:spChg>
        <pc:spChg chg="add mod">
          <ac:chgData name="STEPANCHENKO, D. (Dmitrii)" userId="30c9d29d-ac41-46ff-b2be-c3f5dd1e26e1" providerId="ADAL" clId="{AECDBD64-E75C-4C05-9678-D3B35BDA44EC}" dt="2023-01-26T13:04:05.889" v="6849" actId="1036"/>
          <ac:spMkLst>
            <pc:docMk/>
            <pc:sldMk cId="931874431" sldId="2134806321"/>
            <ac:spMk id="8" creationId="{EF3AA727-580F-928C-D91B-08CCC90BB46B}"/>
          </ac:spMkLst>
        </pc:spChg>
        <pc:spChg chg="mod">
          <ac:chgData name="STEPANCHENKO, D. (Dmitrii)" userId="30c9d29d-ac41-46ff-b2be-c3f5dd1e26e1" providerId="ADAL" clId="{AECDBD64-E75C-4C05-9678-D3B35BDA44EC}" dt="2023-01-28T07:38:08.807" v="8032" actId="207"/>
          <ac:spMkLst>
            <pc:docMk/>
            <pc:sldMk cId="931874431" sldId="2134806321"/>
            <ac:spMk id="28" creationId="{680C9532-9059-68DF-88F9-42B190D45C92}"/>
          </ac:spMkLst>
        </pc:spChg>
        <pc:graphicFrameChg chg="add mod">
          <ac:chgData name="STEPANCHENKO, D. (Dmitrii)" userId="30c9d29d-ac41-46ff-b2be-c3f5dd1e26e1" providerId="ADAL" clId="{AECDBD64-E75C-4C05-9678-D3B35BDA44EC}" dt="2023-01-26T13:05:09.461" v="6929"/>
          <ac:graphicFrameMkLst>
            <pc:docMk/>
            <pc:sldMk cId="931874431" sldId="2134806321"/>
            <ac:graphicFrameMk id="3" creationId="{D105480F-C095-4C97-9245-C3CB74424EC1}"/>
          </ac:graphicFrameMkLst>
        </pc:graphicFrameChg>
        <pc:graphicFrameChg chg="del">
          <ac:chgData name="STEPANCHENKO, D. (Dmitrii)" userId="30c9d29d-ac41-46ff-b2be-c3f5dd1e26e1" providerId="ADAL" clId="{AECDBD64-E75C-4C05-9678-D3B35BDA44EC}" dt="2023-01-26T12:47:00.510" v="5871" actId="478"/>
          <ac:graphicFrameMkLst>
            <pc:docMk/>
            <pc:sldMk cId="931874431" sldId="2134806321"/>
            <ac:graphicFrameMk id="29" creationId="{D105480F-C095-4C97-9245-C3CB74424EC1}"/>
          </ac:graphicFrameMkLst>
        </pc:graphicFrameChg>
      </pc:sldChg>
      <pc:sldChg chg="modSp mod">
        <pc:chgData name="STEPANCHENKO, D. (Dmitrii)" userId="30c9d29d-ac41-46ff-b2be-c3f5dd1e26e1" providerId="ADAL" clId="{AECDBD64-E75C-4C05-9678-D3B35BDA44EC}" dt="2023-01-17T12:43:51.076" v="4350" actId="20577"/>
        <pc:sldMkLst>
          <pc:docMk/>
          <pc:sldMk cId="2685767378" sldId="2134806323"/>
        </pc:sldMkLst>
        <pc:spChg chg="mod">
          <ac:chgData name="STEPANCHENKO, D. (Dmitrii)" userId="30c9d29d-ac41-46ff-b2be-c3f5dd1e26e1" providerId="ADAL" clId="{AECDBD64-E75C-4C05-9678-D3B35BDA44EC}" dt="2023-01-17T12:43:51.076" v="4350" actId="20577"/>
          <ac:spMkLst>
            <pc:docMk/>
            <pc:sldMk cId="2685767378" sldId="2134806323"/>
            <ac:spMk id="15" creationId="{F99418B2-3F36-5FAE-FFC2-7F6A32748D08}"/>
          </ac:spMkLst>
        </pc:spChg>
      </pc:sldChg>
      <pc:sldChg chg="modSp mod">
        <pc:chgData name="STEPANCHENKO, D. (Dmitrii)" userId="30c9d29d-ac41-46ff-b2be-c3f5dd1e26e1" providerId="ADAL" clId="{AECDBD64-E75C-4C05-9678-D3B35BDA44EC}" dt="2023-01-17T12:52:44.001" v="4488" actId="20577"/>
        <pc:sldMkLst>
          <pc:docMk/>
          <pc:sldMk cId="521703837" sldId="2134806326"/>
        </pc:sldMkLst>
        <pc:spChg chg="mod">
          <ac:chgData name="STEPANCHENKO, D. (Dmitrii)" userId="30c9d29d-ac41-46ff-b2be-c3f5dd1e26e1" providerId="ADAL" clId="{AECDBD64-E75C-4C05-9678-D3B35BDA44EC}" dt="2023-01-17T12:52:44.001" v="4488" actId="20577"/>
          <ac:spMkLst>
            <pc:docMk/>
            <pc:sldMk cId="521703837" sldId="2134806326"/>
            <ac:spMk id="13" creationId="{16BA56AD-B511-423F-BF15-E0DDC142DC6C}"/>
          </ac:spMkLst>
        </pc:spChg>
      </pc:sldChg>
      <pc:sldChg chg="addSp delSp modSp mod">
        <pc:chgData name="STEPANCHENKO, D. (Dmitrii)" userId="30c9d29d-ac41-46ff-b2be-c3f5dd1e26e1" providerId="ADAL" clId="{AECDBD64-E75C-4C05-9678-D3B35BDA44EC}" dt="2023-01-28T07:44:59.838" v="8137" actId="1076"/>
        <pc:sldMkLst>
          <pc:docMk/>
          <pc:sldMk cId="1383993538" sldId="2134806327"/>
        </pc:sldMkLst>
        <pc:spChg chg="add del">
          <ac:chgData name="STEPANCHENKO, D. (Dmitrii)" userId="30c9d29d-ac41-46ff-b2be-c3f5dd1e26e1" providerId="ADAL" clId="{AECDBD64-E75C-4C05-9678-D3B35BDA44EC}" dt="2023-01-28T07:44:10.727" v="8085" actId="478"/>
          <ac:spMkLst>
            <pc:docMk/>
            <pc:sldMk cId="1383993538" sldId="2134806327"/>
            <ac:spMk id="3" creationId="{7B8D6EFB-9A45-CAF7-A2F4-45AEEF81CDAD}"/>
          </ac:spMkLst>
        </pc:spChg>
        <pc:spChg chg="add">
          <ac:chgData name="STEPANCHENKO, D. (Dmitrii)" userId="30c9d29d-ac41-46ff-b2be-c3f5dd1e26e1" providerId="ADAL" clId="{AECDBD64-E75C-4C05-9678-D3B35BDA44EC}" dt="2023-01-28T07:44:17.177" v="8086" actId="11529"/>
          <ac:spMkLst>
            <pc:docMk/>
            <pc:sldMk cId="1383993538" sldId="2134806327"/>
            <ac:spMk id="4" creationId="{19BE9838-E979-05E9-AE13-F65C01198833}"/>
          </ac:spMkLst>
        </pc:spChg>
        <pc:spChg chg="mod">
          <ac:chgData name="STEPANCHENKO, D. (Dmitrii)" userId="30c9d29d-ac41-46ff-b2be-c3f5dd1e26e1" providerId="ADAL" clId="{AECDBD64-E75C-4C05-9678-D3B35BDA44EC}" dt="2023-01-28T07:43:43.698" v="8081" actId="20577"/>
          <ac:spMkLst>
            <pc:docMk/>
            <pc:sldMk cId="1383993538" sldId="2134806327"/>
            <ac:spMk id="5" creationId="{81BD1123-3626-1C45-BF5B-1C1864FA8AFA}"/>
          </ac:spMkLst>
        </pc:spChg>
        <pc:spChg chg="add mod">
          <ac:chgData name="STEPANCHENKO, D. (Dmitrii)" userId="30c9d29d-ac41-46ff-b2be-c3f5dd1e26e1" providerId="ADAL" clId="{AECDBD64-E75C-4C05-9678-D3B35BDA44EC}" dt="2023-01-28T07:44:47.719" v="8135" actId="1076"/>
          <ac:spMkLst>
            <pc:docMk/>
            <pc:sldMk cId="1383993538" sldId="2134806327"/>
            <ac:spMk id="6" creationId="{E721F06D-2E71-B87C-8987-4D1944F7C1E9}"/>
          </ac:spMkLst>
        </pc:spChg>
        <pc:spChg chg="mod">
          <ac:chgData name="STEPANCHENKO, D. (Dmitrii)" userId="30c9d29d-ac41-46ff-b2be-c3f5dd1e26e1" providerId="ADAL" clId="{AECDBD64-E75C-4C05-9678-D3B35BDA44EC}" dt="2023-01-28T07:43:55.405" v="8083" actId="255"/>
          <ac:spMkLst>
            <pc:docMk/>
            <pc:sldMk cId="1383993538" sldId="2134806327"/>
            <ac:spMk id="8" creationId="{5DECFFF7-4DDD-4DFE-AF09-04E3986FCD1F}"/>
          </ac:spMkLst>
        </pc:spChg>
        <pc:spChg chg="mod">
          <ac:chgData name="STEPANCHENKO, D. (Dmitrii)" userId="30c9d29d-ac41-46ff-b2be-c3f5dd1e26e1" providerId="ADAL" clId="{AECDBD64-E75C-4C05-9678-D3B35BDA44EC}" dt="2023-01-28T07:44:59.838" v="8137" actId="1076"/>
          <ac:spMkLst>
            <pc:docMk/>
            <pc:sldMk cId="1383993538" sldId="2134806327"/>
            <ac:spMk id="10" creationId="{52B6EE28-6B94-4077-8B54-07A0416DBEFA}"/>
          </ac:spMkLst>
        </pc:spChg>
      </pc:sldChg>
      <pc:sldChg chg="addSp delSp modSp mod ord addCm delCm modCm">
        <pc:chgData name="STEPANCHENKO, D. (Dmitrii)" userId="30c9d29d-ac41-46ff-b2be-c3f5dd1e26e1" providerId="ADAL" clId="{AECDBD64-E75C-4C05-9678-D3B35BDA44EC}" dt="2023-01-26T15:05:33.217" v="8028"/>
        <pc:sldMkLst>
          <pc:docMk/>
          <pc:sldMk cId="3089211194" sldId="2134806330"/>
        </pc:sldMkLst>
        <pc:spChg chg="add del mod">
          <ac:chgData name="STEPANCHENKO, D. (Dmitrii)" userId="30c9d29d-ac41-46ff-b2be-c3f5dd1e26e1" providerId="ADAL" clId="{AECDBD64-E75C-4C05-9678-D3B35BDA44EC}" dt="2023-01-05T11:47:33.717" v="6"/>
          <ac:spMkLst>
            <pc:docMk/>
            <pc:sldMk cId="3089211194" sldId="2134806330"/>
            <ac:spMk id="3" creationId="{FE4508D7-C8CB-4272-9868-CEAD3509A5FD}"/>
          </ac:spMkLst>
        </pc:spChg>
        <pc:spChg chg="mod">
          <ac:chgData name="STEPANCHENKO, D. (Dmitrii)" userId="30c9d29d-ac41-46ff-b2be-c3f5dd1e26e1" providerId="ADAL" clId="{AECDBD64-E75C-4C05-9678-D3B35BDA44EC}" dt="2023-01-21T07:22:48.654" v="5459" actId="20577"/>
          <ac:spMkLst>
            <pc:docMk/>
            <pc:sldMk cId="3089211194" sldId="2134806330"/>
            <ac:spMk id="5" creationId="{81BD1123-3626-1C45-BF5B-1C1864FA8AFA}"/>
          </ac:spMkLst>
        </pc:spChg>
        <pc:spChg chg="add mod">
          <ac:chgData name="STEPANCHENKO, D. (Dmitrii)" userId="30c9d29d-ac41-46ff-b2be-c3f5dd1e26e1" providerId="ADAL" clId="{AECDBD64-E75C-4C05-9678-D3B35BDA44EC}" dt="2023-01-21T07:25:52.389" v="5476" actId="14100"/>
          <ac:spMkLst>
            <pc:docMk/>
            <pc:sldMk cId="3089211194" sldId="2134806330"/>
            <ac:spMk id="6" creationId="{418AC852-BC23-43D5-A644-537958D3AB4A}"/>
          </ac:spMkLst>
        </pc:spChg>
        <pc:spChg chg="add mod">
          <ac:chgData name="STEPANCHENKO, D. (Dmitrii)" userId="30c9d29d-ac41-46ff-b2be-c3f5dd1e26e1" providerId="ADAL" clId="{AECDBD64-E75C-4C05-9678-D3B35BDA44EC}" dt="2023-01-21T08:06:54.281" v="5673" actId="208"/>
          <ac:spMkLst>
            <pc:docMk/>
            <pc:sldMk cId="3089211194" sldId="2134806330"/>
            <ac:spMk id="7" creationId="{2184C339-8E0E-3CF6-ACB3-9F945C5C9988}"/>
          </ac:spMkLst>
        </pc:spChg>
        <pc:spChg chg="add mod">
          <ac:chgData name="STEPANCHENKO, D. (Dmitrii)" userId="30c9d29d-ac41-46ff-b2be-c3f5dd1e26e1" providerId="ADAL" clId="{AECDBD64-E75C-4C05-9678-D3B35BDA44EC}" dt="2023-01-21T08:06:54.281" v="5673" actId="208"/>
          <ac:spMkLst>
            <pc:docMk/>
            <pc:sldMk cId="3089211194" sldId="2134806330"/>
            <ac:spMk id="8" creationId="{A64B4CBB-BA5C-C423-0706-B95DAB191DBE}"/>
          </ac:spMkLst>
        </pc:spChg>
        <pc:spChg chg="add del">
          <ac:chgData name="STEPANCHENKO, D. (Dmitrii)" userId="30c9d29d-ac41-46ff-b2be-c3f5dd1e26e1" providerId="ADAL" clId="{AECDBD64-E75C-4C05-9678-D3B35BDA44EC}" dt="2023-01-20T13:18:37.877" v="5180" actId="478"/>
          <ac:spMkLst>
            <pc:docMk/>
            <pc:sldMk cId="3089211194" sldId="2134806330"/>
            <ac:spMk id="9" creationId="{42546F06-DAB0-869F-AC64-2EB1AD01F60E}"/>
          </ac:spMkLst>
        </pc:spChg>
        <pc:spChg chg="add mod">
          <ac:chgData name="STEPANCHENKO, D. (Dmitrii)" userId="30c9d29d-ac41-46ff-b2be-c3f5dd1e26e1" providerId="ADAL" clId="{AECDBD64-E75C-4C05-9678-D3B35BDA44EC}" dt="2023-01-20T13:40:43.127" v="5286" actId="208"/>
          <ac:spMkLst>
            <pc:docMk/>
            <pc:sldMk cId="3089211194" sldId="2134806330"/>
            <ac:spMk id="10" creationId="{2A24E869-DFD7-EF55-37B8-0ACABB304AA3}"/>
          </ac:spMkLst>
        </pc:spChg>
        <pc:spChg chg="add mod">
          <ac:chgData name="STEPANCHENKO, D. (Dmitrii)" userId="30c9d29d-ac41-46ff-b2be-c3f5dd1e26e1" providerId="ADAL" clId="{AECDBD64-E75C-4C05-9678-D3B35BDA44EC}" dt="2023-01-21T07:23:20.059" v="5466" actId="207"/>
          <ac:spMkLst>
            <pc:docMk/>
            <pc:sldMk cId="3089211194" sldId="2134806330"/>
            <ac:spMk id="12" creationId="{D46E8337-924E-5B0D-9B23-8942DAB4AE6B}"/>
          </ac:spMkLst>
        </pc:spChg>
        <pc:picChg chg="add mod">
          <ac:chgData name="STEPANCHENKO, D. (Dmitrii)" userId="30c9d29d-ac41-46ff-b2be-c3f5dd1e26e1" providerId="ADAL" clId="{AECDBD64-E75C-4C05-9678-D3B35BDA44EC}" dt="2023-01-21T07:25:49.148" v="5475" actId="14100"/>
          <ac:picMkLst>
            <pc:docMk/>
            <pc:sldMk cId="3089211194" sldId="2134806330"/>
            <ac:picMk id="4" creationId="{FD8AF38E-C4AC-4834-9B9D-26B215DB90B5}"/>
          </ac:picMkLst>
        </pc:picChg>
        <pc:picChg chg="add del mod">
          <ac:chgData name="STEPANCHENKO, D. (Dmitrii)" userId="30c9d29d-ac41-46ff-b2be-c3f5dd1e26e1" providerId="ADAL" clId="{AECDBD64-E75C-4C05-9678-D3B35BDA44EC}" dt="2023-01-06T09:55:51.931" v="352" actId="478"/>
          <ac:picMkLst>
            <pc:docMk/>
            <pc:sldMk cId="3089211194" sldId="2134806330"/>
            <ac:picMk id="8" creationId="{05365FBF-FA36-4639-89D9-36DDC32842B7}"/>
          </ac:picMkLst>
        </pc:picChg>
        <pc:picChg chg="add del mod">
          <ac:chgData name="STEPANCHENKO, D. (Dmitrii)" userId="30c9d29d-ac41-46ff-b2be-c3f5dd1e26e1" providerId="ADAL" clId="{AECDBD64-E75C-4C05-9678-D3B35BDA44EC}" dt="2023-01-21T07:34:35.756" v="5484" actId="14100"/>
          <ac:picMkLst>
            <pc:docMk/>
            <pc:sldMk cId="3089211194" sldId="2134806330"/>
            <ac:picMk id="14" creationId="{B866031C-6438-A916-5900-17452A04FC05}"/>
          </ac:picMkLst>
        </pc:picChg>
      </pc:sldChg>
      <pc:sldChg chg="modSp mod">
        <pc:chgData name="STEPANCHENKO, D. (Dmitrii)" userId="30c9d29d-ac41-46ff-b2be-c3f5dd1e26e1" providerId="ADAL" clId="{AECDBD64-E75C-4C05-9678-D3B35BDA44EC}" dt="2023-01-11T17:19:41.952" v="2864" actId="20577"/>
        <pc:sldMkLst>
          <pc:docMk/>
          <pc:sldMk cId="4127393553" sldId="2134806331"/>
        </pc:sldMkLst>
        <pc:spChg chg="mod">
          <ac:chgData name="STEPANCHENKO, D. (Dmitrii)" userId="30c9d29d-ac41-46ff-b2be-c3f5dd1e26e1" providerId="ADAL" clId="{AECDBD64-E75C-4C05-9678-D3B35BDA44EC}" dt="2023-01-11T17:19:41.952" v="2864" actId="20577"/>
          <ac:spMkLst>
            <pc:docMk/>
            <pc:sldMk cId="4127393553" sldId="2134806331"/>
            <ac:spMk id="7" creationId="{00000000-0000-0000-0000-000000000000}"/>
          </ac:spMkLst>
        </pc:spChg>
      </pc:sldChg>
      <pc:sldChg chg="addSp delSp modSp mod modAnim">
        <pc:chgData name="STEPANCHENKO, D. (Dmitrii)" userId="30c9d29d-ac41-46ff-b2be-c3f5dd1e26e1" providerId="ADAL" clId="{AECDBD64-E75C-4C05-9678-D3B35BDA44EC}" dt="2023-01-26T14:47:51.356" v="8020" actId="20577"/>
        <pc:sldMkLst>
          <pc:docMk/>
          <pc:sldMk cId="3444687285" sldId="2134806333"/>
        </pc:sldMkLst>
        <pc:spChg chg="mod">
          <ac:chgData name="STEPANCHENKO, D. (Dmitrii)" userId="30c9d29d-ac41-46ff-b2be-c3f5dd1e26e1" providerId="ADAL" clId="{AECDBD64-E75C-4C05-9678-D3B35BDA44EC}" dt="2023-01-26T14:47:51.356" v="8020" actId="20577"/>
          <ac:spMkLst>
            <pc:docMk/>
            <pc:sldMk cId="3444687285" sldId="2134806333"/>
            <ac:spMk id="5" creationId="{81BD1123-3626-1C45-BF5B-1C1864FA8AFA}"/>
          </ac:spMkLst>
        </pc:spChg>
        <pc:spChg chg="add mod">
          <ac:chgData name="STEPANCHENKO, D. (Dmitrii)" userId="30c9d29d-ac41-46ff-b2be-c3f5dd1e26e1" providerId="ADAL" clId="{AECDBD64-E75C-4C05-9678-D3B35BDA44EC}" dt="2023-01-06T11:56:55.609" v="1029"/>
          <ac:spMkLst>
            <pc:docMk/>
            <pc:sldMk cId="3444687285" sldId="2134806333"/>
            <ac:spMk id="7" creationId="{682B65D6-B803-4460-99AF-B677554DD998}"/>
          </ac:spMkLst>
        </pc:spChg>
        <pc:spChg chg="del">
          <ac:chgData name="STEPANCHENKO, D. (Dmitrii)" userId="30c9d29d-ac41-46ff-b2be-c3f5dd1e26e1" providerId="ADAL" clId="{AECDBD64-E75C-4C05-9678-D3B35BDA44EC}" dt="2023-01-06T11:56:50.581" v="1026" actId="478"/>
          <ac:spMkLst>
            <pc:docMk/>
            <pc:sldMk cId="3444687285" sldId="2134806333"/>
            <ac:spMk id="8" creationId="{5DECFFF7-4DDD-4DFE-AF09-04E3986FCD1F}"/>
          </ac:spMkLst>
        </pc:spChg>
        <pc:spChg chg="add mod">
          <ac:chgData name="STEPANCHENKO, D. (Dmitrii)" userId="30c9d29d-ac41-46ff-b2be-c3f5dd1e26e1" providerId="ADAL" clId="{AECDBD64-E75C-4C05-9678-D3B35BDA44EC}" dt="2023-01-06T12:09:01.639" v="1238" actId="1076"/>
          <ac:spMkLst>
            <pc:docMk/>
            <pc:sldMk cId="3444687285" sldId="2134806333"/>
            <ac:spMk id="9" creationId="{CD23FEE6-2745-44DB-94A1-F55B9A5050DE}"/>
          </ac:spMkLst>
        </pc:spChg>
        <pc:spChg chg="del">
          <ac:chgData name="STEPANCHENKO, D. (Dmitrii)" userId="30c9d29d-ac41-46ff-b2be-c3f5dd1e26e1" providerId="ADAL" clId="{AECDBD64-E75C-4C05-9678-D3B35BDA44EC}" dt="2023-01-06T11:57:18.636" v="1032" actId="478"/>
          <ac:spMkLst>
            <pc:docMk/>
            <pc:sldMk cId="3444687285" sldId="2134806333"/>
            <ac:spMk id="10" creationId="{52B6EE28-6B94-4077-8B54-07A0416DBEFA}"/>
          </ac:spMkLst>
        </pc:spChg>
        <pc:spChg chg="add mod">
          <ac:chgData name="STEPANCHENKO, D. (Dmitrii)" userId="30c9d29d-ac41-46ff-b2be-c3f5dd1e26e1" providerId="ADAL" clId="{AECDBD64-E75C-4C05-9678-D3B35BDA44EC}" dt="2023-01-06T12:01:34.363" v="1127" actId="21"/>
          <ac:spMkLst>
            <pc:docMk/>
            <pc:sldMk cId="3444687285" sldId="2134806333"/>
            <ac:spMk id="12" creationId="{A833CA0B-9813-40A3-9F29-B963474ED863}"/>
          </ac:spMkLst>
        </pc:spChg>
        <pc:spChg chg="add mod">
          <ac:chgData name="STEPANCHENKO, D. (Dmitrii)" userId="30c9d29d-ac41-46ff-b2be-c3f5dd1e26e1" providerId="ADAL" clId="{AECDBD64-E75C-4C05-9678-D3B35BDA44EC}" dt="2023-01-06T12:54:01.520" v="1275" actId="1076"/>
          <ac:spMkLst>
            <pc:docMk/>
            <pc:sldMk cId="3444687285" sldId="2134806333"/>
            <ac:spMk id="13" creationId="{C59E1761-1832-4C8A-AEEC-6EBF698037A1}"/>
          </ac:spMkLst>
        </pc:spChg>
        <pc:spChg chg="add mod">
          <ac:chgData name="STEPANCHENKO, D. (Dmitrii)" userId="30c9d29d-ac41-46ff-b2be-c3f5dd1e26e1" providerId="ADAL" clId="{AECDBD64-E75C-4C05-9678-D3B35BDA44EC}" dt="2023-01-06T12:09:19.365" v="1244" actId="1076"/>
          <ac:spMkLst>
            <pc:docMk/>
            <pc:sldMk cId="3444687285" sldId="2134806333"/>
            <ac:spMk id="14" creationId="{C7E652B8-53DD-44D4-A5D5-4417DA75FDF5}"/>
          </ac:spMkLst>
        </pc:spChg>
        <pc:spChg chg="add mod">
          <ac:chgData name="STEPANCHENKO, D. (Dmitrii)" userId="30c9d29d-ac41-46ff-b2be-c3f5dd1e26e1" providerId="ADAL" clId="{AECDBD64-E75C-4C05-9678-D3B35BDA44EC}" dt="2023-01-06T12:07:17.334" v="1211" actId="20577"/>
          <ac:spMkLst>
            <pc:docMk/>
            <pc:sldMk cId="3444687285" sldId="2134806333"/>
            <ac:spMk id="15" creationId="{BF8120B5-F542-4E72-B133-D0DAA8717013}"/>
          </ac:spMkLst>
        </pc:spChg>
        <pc:spChg chg="add del mod">
          <ac:chgData name="STEPANCHENKO, D. (Dmitrii)" userId="30c9d29d-ac41-46ff-b2be-c3f5dd1e26e1" providerId="ADAL" clId="{AECDBD64-E75C-4C05-9678-D3B35BDA44EC}" dt="2023-01-06T12:06:05.922" v="1170" actId="478"/>
          <ac:spMkLst>
            <pc:docMk/>
            <pc:sldMk cId="3444687285" sldId="2134806333"/>
            <ac:spMk id="17" creationId="{7922EFD8-753D-4EB1-B87E-0ECA88DB563B}"/>
          </ac:spMkLst>
        </pc:spChg>
        <pc:spChg chg="add mod">
          <ac:chgData name="STEPANCHENKO, D. (Dmitrii)" userId="30c9d29d-ac41-46ff-b2be-c3f5dd1e26e1" providerId="ADAL" clId="{AECDBD64-E75C-4C05-9678-D3B35BDA44EC}" dt="2023-01-06T12:09:37.577" v="1247" actId="14100"/>
          <ac:spMkLst>
            <pc:docMk/>
            <pc:sldMk cId="3444687285" sldId="2134806333"/>
            <ac:spMk id="18" creationId="{B8EC990D-37EF-4A1F-ACC2-10B1FA1A531F}"/>
          </ac:spMkLst>
        </pc:spChg>
        <pc:graphicFrameChg chg="add del mod modGraphic">
          <ac:chgData name="STEPANCHENKO, D. (Dmitrii)" userId="30c9d29d-ac41-46ff-b2be-c3f5dd1e26e1" providerId="ADAL" clId="{AECDBD64-E75C-4C05-9678-D3B35BDA44EC}" dt="2023-01-06T12:01:05.116" v="1103" actId="478"/>
          <ac:graphicFrameMkLst>
            <pc:docMk/>
            <pc:sldMk cId="3444687285" sldId="2134806333"/>
            <ac:graphicFrameMk id="4" creationId="{8D5EFD4F-7DE3-440E-8D43-3CD927E33C72}"/>
          </ac:graphicFrameMkLst>
        </pc:graphicFrameChg>
        <pc:graphicFrameChg chg="add mod">
          <ac:chgData name="STEPANCHENKO, D. (Dmitrii)" userId="30c9d29d-ac41-46ff-b2be-c3f5dd1e26e1" providerId="ADAL" clId="{AECDBD64-E75C-4C05-9678-D3B35BDA44EC}" dt="2023-01-06T12:06:19.985" v="1185" actId="1036"/>
          <ac:graphicFrameMkLst>
            <pc:docMk/>
            <pc:sldMk cId="3444687285" sldId="2134806333"/>
            <ac:graphicFrameMk id="6" creationId="{D9A72080-4A4A-266D-A135-ECD5E1BFB692}"/>
          </ac:graphicFrameMkLst>
        </pc:graphicFrameChg>
        <pc:graphicFrameChg chg="add mod">
          <ac:chgData name="STEPANCHENKO, D. (Dmitrii)" userId="30c9d29d-ac41-46ff-b2be-c3f5dd1e26e1" providerId="ADAL" clId="{AECDBD64-E75C-4C05-9678-D3B35BDA44EC}" dt="2023-01-17T13:16:39.367" v="4773" actId="1076"/>
          <ac:graphicFrameMkLst>
            <pc:docMk/>
            <pc:sldMk cId="3444687285" sldId="2134806333"/>
            <ac:graphicFrameMk id="19" creationId="{AA77DF82-B2FB-4D0B-8779-BCEA943C88B2}"/>
          </ac:graphicFrameMkLst>
        </pc:graphicFrameChg>
        <pc:picChg chg="add mod">
          <ac:chgData name="STEPANCHENKO, D. (Dmitrii)" userId="30c9d29d-ac41-46ff-b2be-c3f5dd1e26e1" providerId="ADAL" clId="{AECDBD64-E75C-4C05-9678-D3B35BDA44EC}" dt="2023-01-06T12:54:12.981" v="1279" actId="14100"/>
          <ac:picMkLst>
            <pc:docMk/>
            <pc:sldMk cId="3444687285" sldId="2134806333"/>
            <ac:picMk id="20" creationId="{9D55DA0E-76E7-4354-9CE5-36B7E462E1CC}"/>
          </ac:picMkLst>
        </pc:picChg>
      </pc:sldChg>
      <pc:sldChg chg="modSp mod">
        <pc:chgData name="STEPANCHENKO, D. (Dmitrii)" userId="30c9d29d-ac41-46ff-b2be-c3f5dd1e26e1" providerId="ADAL" clId="{AECDBD64-E75C-4C05-9678-D3B35BDA44EC}" dt="2023-01-26T14:43:30.003" v="8002" actId="20577"/>
        <pc:sldMkLst>
          <pc:docMk/>
          <pc:sldMk cId="3608721573" sldId="2134806334"/>
        </pc:sldMkLst>
        <pc:spChg chg="mod">
          <ac:chgData name="STEPANCHENKO, D. (Dmitrii)" userId="30c9d29d-ac41-46ff-b2be-c3f5dd1e26e1" providerId="ADAL" clId="{AECDBD64-E75C-4C05-9678-D3B35BDA44EC}" dt="2023-01-26T14:43:30.003" v="8002" actId="20577"/>
          <ac:spMkLst>
            <pc:docMk/>
            <pc:sldMk cId="3608721573" sldId="2134806334"/>
            <ac:spMk id="5" creationId="{81BD1123-3626-1C45-BF5B-1C1864FA8AFA}"/>
          </ac:spMkLst>
        </pc:spChg>
        <pc:spChg chg="mod">
          <ac:chgData name="STEPANCHENKO, D. (Dmitrii)" userId="30c9d29d-ac41-46ff-b2be-c3f5dd1e26e1" providerId="ADAL" clId="{AECDBD64-E75C-4C05-9678-D3B35BDA44EC}" dt="2023-01-26T14:42:30.672" v="7972" actId="20577"/>
          <ac:spMkLst>
            <pc:docMk/>
            <pc:sldMk cId="3608721573" sldId="2134806334"/>
            <ac:spMk id="12" creationId="{0752E6A3-4425-48A0-9570-33BE5F54B45C}"/>
          </ac:spMkLst>
        </pc:spChg>
        <pc:spChg chg="mod">
          <ac:chgData name="STEPANCHENKO, D. (Dmitrii)" userId="30c9d29d-ac41-46ff-b2be-c3f5dd1e26e1" providerId="ADAL" clId="{AECDBD64-E75C-4C05-9678-D3B35BDA44EC}" dt="2023-01-26T14:43:09.089" v="7977" actId="20577"/>
          <ac:spMkLst>
            <pc:docMk/>
            <pc:sldMk cId="3608721573" sldId="2134806334"/>
            <ac:spMk id="14" creationId="{8774A0F6-E177-49B2-90C1-41ECDC52A906}"/>
          </ac:spMkLst>
        </pc:spChg>
      </pc:sldChg>
      <pc:sldChg chg="modSp mod">
        <pc:chgData name="STEPANCHENKO, D. (Dmitrii)" userId="30c9d29d-ac41-46ff-b2be-c3f5dd1e26e1" providerId="ADAL" clId="{AECDBD64-E75C-4C05-9678-D3B35BDA44EC}" dt="2023-01-26T14:47:40.263" v="8016" actId="2164"/>
        <pc:sldMkLst>
          <pc:docMk/>
          <pc:sldMk cId="3429197109" sldId="2134806335"/>
        </pc:sldMkLst>
        <pc:graphicFrameChg chg="mod modGraphic">
          <ac:chgData name="STEPANCHENKO, D. (Dmitrii)" userId="30c9d29d-ac41-46ff-b2be-c3f5dd1e26e1" providerId="ADAL" clId="{AECDBD64-E75C-4C05-9678-D3B35BDA44EC}" dt="2023-01-26T14:47:40.263" v="8016" actId="2164"/>
          <ac:graphicFrameMkLst>
            <pc:docMk/>
            <pc:sldMk cId="3429197109" sldId="2134806335"/>
            <ac:graphicFrameMk id="3" creationId="{3FB1392B-9DAC-40D6-AF12-16AF88B26518}"/>
          </ac:graphicFrameMkLst>
        </pc:graphicFrameChg>
      </pc:sldChg>
      <pc:sldChg chg="addSp delSp modSp mod ord modAnim">
        <pc:chgData name="STEPANCHENKO, D. (Dmitrii)" userId="30c9d29d-ac41-46ff-b2be-c3f5dd1e26e1" providerId="ADAL" clId="{AECDBD64-E75C-4C05-9678-D3B35BDA44EC}" dt="2023-01-26T14:48:26.077" v="8027" actId="20577"/>
        <pc:sldMkLst>
          <pc:docMk/>
          <pc:sldMk cId="1608794076" sldId="2134806336"/>
        </pc:sldMkLst>
        <pc:spChg chg="add mod">
          <ac:chgData name="STEPANCHENKO, D. (Dmitrii)" userId="30c9d29d-ac41-46ff-b2be-c3f5dd1e26e1" providerId="ADAL" clId="{AECDBD64-E75C-4C05-9678-D3B35BDA44EC}" dt="2023-01-26T14:48:26.077" v="8027" actId="20577"/>
          <ac:spMkLst>
            <pc:docMk/>
            <pc:sldMk cId="1608794076" sldId="2134806336"/>
            <ac:spMk id="4" creationId="{5B3042FF-B4B3-4086-A2CA-C21FEA2674C1}"/>
          </ac:spMkLst>
        </pc:spChg>
        <pc:spChg chg="mod">
          <ac:chgData name="STEPANCHENKO, D. (Dmitrii)" userId="30c9d29d-ac41-46ff-b2be-c3f5dd1e26e1" providerId="ADAL" clId="{AECDBD64-E75C-4C05-9678-D3B35BDA44EC}" dt="2023-01-26T14:47:44.138" v="8018" actId="20577"/>
          <ac:spMkLst>
            <pc:docMk/>
            <pc:sldMk cId="1608794076" sldId="2134806336"/>
            <ac:spMk id="5" creationId="{81BD1123-3626-1C45-BF5B-1C1864FA8AFA}"/>
          </ac:spMkLst>
        </pc:spChg>
        <pc:spChg chg="del">
          <ac:chgData name="STEPANCHENKO, D. (Dmitrii)" userId="30c9d29d-ac41-46ff-b2be-c3f5dd1e26e1" providerId="ADAL" clId="{AECDBD64-E75C-4C05-9678-D3B35BDA44EC}" dt="2023-01-06T11:40:04.417" v="355" actId="478"/>
          <ac:spMkLst>
            <pc:docMk/>
            <pc:sldMk cId="1608794076" sldId="2134806336"/>
            <ac:spMk id="10" creationId="{52B6EE28-6B94-4077-8B54-07A0416DBEFA}"/>
          </ac:spMkLst>
        </pc:spChg>
        <pc:graphicFrameChg chg="del">
          <ac:chgData name="STEPANCHENKO, D. (Dmitrii)" userId="30c9d29d-ac41-46ff-b2be-c3f5dd1e26e1" providerId="ADAL" clId="{AECDBD64-E75C-4C05-9678-D3B35BDA44EC}" dt="2023-01-06T11:40:08.592" v="356" actId="478"/>
          <ac:graphicFrameMkLst>
            <pc:docMk/>
            <pc:sldMk cId="1608794076" sldId="2134806336"/>
            <ac:graphicFrameMk id="3" creationId="{14F17274-164C-418B-B125-D92ACA77A98E}"/>
          </ac:graphicFrameMkLst>
        </pc:graphicFrameChg>
        <pc:picChg chg="add mod">
          <ac:chgData name="STEPANCHENKO, D. (Dmitrii)" userId="30c9d29d-ac41-46ff-b2be-c3f5dd1e26e1" providerId="ADAL" clId="{AECDBD64-E75C-4C05-9678-D3B35BDA44EC}" dt="2023-01-26T13:30:10.341" v="7317" actId="1036"/>
          <ac:picMkLst>
            <pc:docMk/>
            <pc:sldMk cId="1608794076" sldId="2134806336"/>
            <ac:picMk id="8" creationId="{0FFAACA2-8C69-4ADF-A6B9-2B8050074E2D}"/>
          </ac:picMkLst>
        </pc:picChg>
      </pc:sldChg>
      <pc:sldChg chg="addSp modSp mod modShow">
        <pc:chgData name="STEPANCHENKO, D. (Dmitrii)" userId="30c9d29d-ac41-46ff-b2be-c3f5dd1e26e1" providerId="ADAL" clId="{AECDBD64-E75C-4C05-9678-D3B35BDA44EC}" dt="2023-01-21T08:06:31.808" v="5668" actId="208"/>
        <pc:sldMkLst>
          <pc:docMk/>
          <pc:sldMk cId="3231236423" sldId="2134806337"/>
        </pc:sldMkLst>
        <pc:spChg chg="add mod">
          <ac:chgData name="STEPANCHENKO, D. (Dmitrii)" userId="30c9d29d-ac41-46ff-b2be-c3f5dd1e26e1" providerId="ADAL" clId="{AECDBD64-E75C-4C05-9678-D3B35BDA44EC}" dt="2023-01-21T08:06:31.808" v="5668" actId="208"/>
          <ac:spMkLst>
            <pc:docMk/>
            <pc:sldMk cId="3231236423" sldId="2134806337"/>
            <ac:spMk id="3" creationId="{D7219301-277D-B3F2-7128-4031D234B954}"/>
          </ac:spMkLst>
        </pc:spChg>
        <pc:spChg chg="add mod">
          <ac:chgData name="STEPANCHENKO, D. (Dmitrii)" userId="30c9d29d-ac41-46ff-b2be-c3f5dd1e26e1" providerId="ADAL" clId="{AECDBD64-E75C-4C05-9678-D3B35BDA44EC}" dt="2023-01-21T08:06:31.808" v="5668" actId="208"/>
          <ac:spMkLst>
            <pc:docMk/>
            <pc:sldMk cId="3231236423" sldId="2134806337"/>
            <ac:spMk id="6" creationId="{D1C09931-A17D-23DD-3C19-05884C2FDE21}"/>
          </ac:spMkLst>
        </pc:spChg>
        <pc:spChg chg="mod">
          <ac:chgData name="STEPANCHENKO, D. (Dmitrii)" userId="30c9d29d-ac41-46ff-b2be-c3f5dd1e26e1" providerId="ADAL" clId="{AECDBD64-E75C-4C05-9678-D3B35BDA44EC}" dt="2023-01-21T08:06:31.808" v="5668" actId="208"/>
          <ac:spMkLst>
            <pc:docMk/>
            <pc:sldMk cId="3231236423" sldId="2134806337"/>
            <ac:spMk id="15" creationId="{AEDD12B7-EF75-4635-9E48-3DA9BFBD6BB8}"/>
          </ac:spMkLst>
        </pc:spChg>
        <pc:picChg chg="mod">
          <ac:chgData name="STEPANCHENKO, D. (Dmitrii)" userId="30c9d29d-ac41-46ff-b2be-c3f5dd1e26e1" providerId="ADAL" clId="{AECDBD64-E75C-4C05-9678-D3B35BDA44EC}" dt="2023-01-21T08:06:05.559" v="5657" actId="1037"/>
          <ac:picMkLst>
            <pc:docMk/>
            <pc:sldMk cId="3231236423" sldId="2134806337"/>
            <ac:picMk id="4" creationId="{39109EAB-2ACB-4AC2-AA98-9595D9FA2C8D}"/>
          </ac:picMkLst>
        </pc:picChg>
        <pc:picChg chg="mod">
          <ac:chgData name="STEPANCHENKO, D. (Dmitrii)" userId="30c9d29d-ac41-46ff-b2be-c3f5dd1e26e1" providerId="ADAL" clId="{AECDBD64-E75C-4C05-9678-D3B35BDA44EC}" dt="2023-01-21T08:06:19.342" v="5666" actId="1036"/>
          <ac:picMkLst>
            <pc:docMk/>
            <pc:sldMk cId="3231236423" sldId="2134806337"/>
            <ac:picMk id="10" creationId="{CC7C69E1-721E-4E62-ABFA-548AF492420D}"/>
          </ac:picMkLst>
        </pc:picChg>
      </pc:sldChg>
      <pc:sldChg chg="mod modShow">
        <pc:chgData name="STEPANCHENKO, D. (Dmitrii)" userId="30c9d29d-ac41-46ff-b2be-c3f5dd1e26e1" providerId="ADAL" clId="{AECDBD64-E75C-4C05-9678-D3B35BDA44EC}" dt="2023-01-28T07:48:47.070" v="8138" actId="729"/>
        <pc:sldMkLst>
          <pc:docMk/>
          <pc:sldMk cId="319979765" sldId="2134806345"/>
        </pc:sldMkLst>
      </pc:sldChg>
      <pc:sldChg chg="mod modShow">
        <pc:chgData name="STEPANCHENKO, D. (Dmitrii)" userId="30c9d29d-ac41-46ff-b2be-c3f5dd1e26e1" providerId="ADAL" clId="{AECDBD64-E75C-4C05-9678-D3B35BDA44EC}" dt="2023-01-28T07:48:47.070" v="8138" actId="729"/>
        <pc:sldMkLst>
          <pc:docMk/>
          <pc:sldMk cId="1623928624" sldId="2134806346"/>
        </pc:sldMkLst>
      </pc:sldChg>
      <pc:sldChg chg="modSp mod">
        <pc:chgData name="STEPANCHENKO, D. (Dmitrii)" userId="30c9d29d-ac41-46ff-b2be-c3f5dd1e26e1" providerId="ADAL" clId="{AECDBD64-E75C-4C05-9678-D3B35BDA44EC}" dt="2023-01-26T14:46:49.740" v="8010" actId="20577"/>
        <pc:sldMkLst>
          <pc:docMk/>
          <pc:sldMk cId="3121307498" sldId="2134806348"/>
        </pc:sldMkLst>
        <pc:graphicFrameChg chg="modGraphic">
          <ac:chgData name="STEPANCHENKO, D. (Dmitrii)" userId="30c9d29d-ac41-46ff-b2be-c3f5dd1e26e1" providerId="ADAL" clId="{AECDBD64-E75C-4C05-9678-D3B35BDA44EC}" dt="2023-01-26T14:46:49.740" v="8010" actId="20577"/>
          <ac:graphicFrameMkLst>
            <pc:docMk/>
            <pc:sldMk cId="3121307498" sldId="2134806348"/>
            <ac:graphicFrameMk id="7" creationId="{6FF43420-5F97-4112-B0D3-FE928926660A}"/>
          </ac:graphicFrameMkLst>
        </pc:graphicFrameChg>
      </pc:sldChg>
      <pc:sldChg chg="addSp delSp modSp mod ord modShow">
        <pc:chgData name="STEPANCHENKO, D. (Dmitrii)" userId="30c9d29d-ac41-46ff-b2be-c3f5dd1e26e1" providerId="ADAL" clId="{AECDBD64-E75C-4C05-9678-D3B35BDA44EC}" dt="2023-01-28T09:22:12.054" v="8181" actId="729"/>
        <pc:sldMkLst>
          <pc:docMk/>
          <pc:sldMk cId="360950131" sldId="2134806349"/>
        </pc:sldMkLst>
        <pc:spChg chg="mod">
          <ac:chgData name="STEPANCHENKO, D. (Dmitrii)" userId="30c9d29d-ac41-46ff-b2be-c3f5dd1e26e1" providerId="ADAL" clId="{AECDBD64-E75C-4C05-9678-D3B35BDA44EC}" dt="2023-01-26T14:23:29.447" v="7783"/>
          <ac:spMkLst>
            <pc:docMk/>
            <pc:sldMk cId="360950131" sldId="2134806349"/>
            <ac:spMk id="3" creationId="{883B87B3-D1D2-4A3B-97F2-6F7840DB0C96}"/>
          </ac:spMkLst>
        </pc:spChg>
        <pc:spChg chg="add mod">
          <ac:chgData name="STEPANCHENKO, D. (Dmitrii)" userId="30c9d29d-ac41-46ff-b2be-c3f5dd1e26e1" providerId="ADAL" clId="{AECDBD64-E75C-4C05-9678-D3B35BDA44EC}" dt="2023-01-26T13:57:50.913" v="7635" actId="1038"/>
          <ac:spMkLst>
            <pc:docMk/>
            <pc:sldMk cId="360950131" sldId="2134806349"/>
            <ac:spMk id="4" creationId="{BAC0D61B-4BC8-4294-82E3-A96FB6065829}"/>
          </ac:spMkLst>
        </pc:spChg>
        <pc:spChg chg="mod">
          <ac:chgData name="STEPANCHENKO, D. (Dmitrii)" userId="30c9d29d-ac41-46ff-b2be-c3f5dd1e26e1" providerId="ADAL" clId="{AECDBD64-E75C-4C05-9678-D3B35BDA44EC}" dt="2023-01-17T12:53:54.050" v="4514" actId="20577"/>
          <ac:spMkLst>
            <pc:docMk/>
            <pc:sldMk cId="360950131" sldId="2134806349"/>
            <ac:spMk id="7" creationId="{9553823D-25F9-4338-8CFF-88676D4B8CD0}"/>
          </ac:spMkLst>
        </pc:spChg>
        <pc:spChg chg="mod">
          <ac:chgData name="STEPANCHENKO, D. (Dmitrii)" userId="30c9d29d-ac41-46ff-b2be-c3f5dd1e26e1" providerId="ADAL" clId="{AECDBD64-E75C-4C05-9678-D3B35BDA44EC}" dt="2023-01-17T12:54:11.263" v="4519" actId="1038"/>
          <ac:spMkLst>
            <pc:docMk/>
            <pc:sldMk cId="360950131" sldId="2134806349"/>
            <ac:spMk id="9" creationId="{F862E89A-04D9-42DC-8E11-7E5508016823}"/>
          </ac:spMkLst>
        </pc:spChg>
        <pc:spChg chg="mod">
          <ac:chgData name="STEPANCHENKO, D. (Dmitrii)" userId="30c9d29d-ac41-46ff-b2be-c3f5dd1e26e1" providerId="ADAL" clId="{AECDBD64-E75C-4C05-9678-D3B35BDA44EC}" dt="2023-01-17T12:54:15.777" v="4531" actId="20577"/>
          <ac:spMkLst>
            <pc:docMk/>
            <pc:sldMk cId="360950131" sldId="2134806349"/>
            <ac:spMk id="11" creationId="{75116657-C492-4787-B89F-2E382C74A770}"/>
          </ac:spMkLst>
        </pc:spChg>
        <pc:spChg chg="add del mod">
          <ac:chgData name="STEPANCHENKO, D. (Dmitrii)" userId="30c9d29d-ac41-46ff-b2be-c3f5dd1e26e1" providerId="ADAL" clId="{AECDBD64-E75C-4C05-9678-D3B35BDA44EC}" dt="2023-01-26T13:57:16.763" v="7624" actId="478"/>
          <ac:spMkLst>
            <pc:docMk/>
            <pc:sldMk cId="360950131" sldId="2134806349"/>
            <ac:spMk id="12" creationId="{B64DCBD3-19A5-ABD9-35A8-193F572CDE11}"/>
          </ac:spMkLst>
        </pc:spChg>
        <pc:spChg chg="del mod">
          <ac:chgData name="STEPANCHENKO, D. (Dmitrii)" userId="30c9d29d-ac41-46ff-b2be-c3f5dd1e26e1" providerId="ADAL" clId="{AECDBD64-E75C-4C05-9678-D3B35BDA44EC}" dt="2023-01-26T14:09:48.064" v="7669" actId="478"/>
          <ac:spMkLst>
            <pc:docMk/>
            <pc:sldMk cId="360950131" sldId="2134806349"/>
            <ac:spMk id="13" creationId="{C3176AA9-79B2-4078-AB48-06CE14816A48}"/>
          </ac:spMkLst>
        </pc:spChg>
        <pc:spChg chg="del">
          <ac:chgData name="STEPANCHENKO, D. (Dmitrii)" userId="30c9d29d-ac41-46ff-b2be-c3f5dd1e26e1" providerId="ADAL" clId="{AECDBD64-E75C-4C05-9678-D3B35BDA44EC}" dt="2023-01-26T14:09:48.064" v="7669" actId="478"/>
          <ac:spMkLst>
            <pc:docMk/>
            <pc:sldMk cId="360950131" sldId="2134806349"/>
            <ac:spMk id="14" creationId="{259EA7A0-89DC-4662-ADF7-A34222303E96}"/>
          </ac:spMkLst>
        </pc:spChg>
        <pc:spChg chg="mod">
          <ac:chgData name="STEPANCHENKO, D. (Dmitrii)" userId="30c9d29d-ac41-46ff-b2be-c3f5dd1e26e1" providerId="ADAL" clId="{AECDBD64-E75C-4C05-9678-D3B35BDA44EC}" dt="2023-01-26T14:09:15.209" v="7645" actId="14100"/>
          <ac:spMkLst>
            <pc:docMk/>
            <pc:sldMk cId="360950131" sldId="2134806349"/>
            <ac:spMk id="15" creationId="{E6217700-48BD-4F57-ABEE-041604653B78}"/>
          </ac:spMkLst>
        </pc:spChg>
        <pc:spChg chg="add mod">
          <ac:chgData name="STEPANCHENKO, D. (Dmitrii)" userId="30c9d29d-ac41-46ff-b2be-c3f5dd1e26e1" providerId="ADAL" clId="{AECDBD64-E75C-4C05-9678-D3B35BDA44EC}" dt="2023-01-26T14:09:43.311" v="7668" actId="14100"/>
          <ac:spMkLst>
            <pc:docMk/>
            <pc:sldMk cId="360950131" sldId="2134806349"/>
            <ac:spMk id="16" creationId="{A8BB7EEB-F8AC-E32E-569B-7EC437158519}"/>
          </ac:spMkLst>
        </pc:spChg>
        <pc:spChg chg="mod">
          <ac:chgData name="STEPANCHENKO, D. (Dmitrii)" userId="30c9d29d-ac41-46ff-b2be-c3f5dd1e26e1" providerId="ADAL" clId="{AECDBD64-E75C-4C05-9678-D3B35BDA44EC}" dt="2023-01-26T14:09:39.466" v="7667" actId="1038"/>
          <ac:spMkLst>
            <pc:docMk/>
            <pc:sldMk cId="360950131" sldId="2134806349"/>
            <ac:spMk id="23" creationId="{5DED1613-F425-403B-900C-6746670A4E2E}"/>
          </ac:spMkLst>
        </pc:spChg>
        <pc:spChg chg="del mod">
          <ac:chgData name="STEPANCHENKO, D. (Dmitrii)" userId="30c9d29d-ac41-46ff-b2be-c3f5dd1e26e1" providerId="ADAL" clId="{AECDBD64-E75C-4C05-9678-D3B35BDA44EC}" dt="2023-01-17T12:58:38.544" v="4624" actId="478"/>
          <ac:spMkLst>
            <pc:docMk/>
            <pc:sldMk cId="360950131" sldId="2134806349"/>
            <ac:spMk id="24" creationId="{C56E59CD-596D-4481-96B1-A5922026B5E6}"/>
          </ac:spMkLst>
        </pc:spChg>
        <pc:spChg chg="mod">
          <ac:chgData name="STEPANCHENKO, D. (Dmitrii)" userId="30c9d29d-ac41-46ff-b2be-c3f5dd1e26e1" providerId="ADAL" clId="{AECDBD64-E75C-4C05-9678-D3B35BDA44EC}" dt="2023-01-26T13:56:23.100" v="7609" actId="20577"/>
          <ac:spMkLst>
            <pc:docMk/>
            <pc:sldMk cId="360950131" sldId="2134806349"/>
            <ac:spMk id="25" creationId="{3791451D-F1FF-4866-BEE7-76DB3C40E6CC}"/>
          </ac:spMkLst>
        </pc:spChg>
        <pc:cxnChg chg="add mod">
          <ac:chgData name="STEPANCHENKO, D. (Dmitrii)" userId="30c9d29d-ac41-46ff-b2be-c3f5dd1e26e1" providerId="ADAL" clId="{AECDBD64-E75C-4C05-9678-D3B35BDA44EC}" dt="2023-01-26T13:56:34.835" v="7610" actId="14100"/>
          <ac:cxnSpMkLst>
            <pc:docMk/>
            <pc:sldMk cId="360950131" sldId="2134806349"/>
            <ac:cxnSpMk id="8" creationId="{50A4123E-541B-474D-9568-5BE95CF43030}"/>
          </ac:cxnSpMkLst>
        </pc:cxnChg>
        <pc:cxnChg chg="mod">
          <ac:chgData name="STEPANCHENKO, D. (Dmitrii)" userId="30c9d29d-ac41-46ff-b2be-c3f5dd1e26e1" providerId="ADAL" clId="{AECDBD64-E75C-4C05-9678-D3B35BDA44EC}" dt="2023-01-26T14:09:15.209" v="7645" actId="14100"/>
          <ac:cxnSpMkLst>
            <pc:docMk/>
            <pc:sldMk cId="360950131" sldId="2134806349"/>
            <ac:cxnSpMk id="17" creationId="{3EE0A07F-DE4D-4BE0-AC12-E01AFA9531B8}"/>
          </ac:cxnSpMkLst>
        </pc:cxnChg>
        <pc:cxnChg chg="add del mod">
          <ac:chgData name="STEPANCHENKO, D. (Dmitrii)" userId="30c9d29d-ac41-46ff-b2be-c3f5dd1e26e1" providerId="ADAL" clId="{AECDBD64-E75C-4C05-9678-D3B35BDA44EC}" dt="2023-01-26T13:57:18.828" v="7625" actId="478"/>
          <ac:cxnSpMkLst>
            <pc:docMk/>
            <pc:sldMk cId="360950131" sldId="2134806349"/>
            <ac:cxnSpMk id="18" creationId="{A8984EF4-3E3A-59DB-F150-36DCF82A6E24}"/>
          </ac:cxnSpMkLst>
        </pc:cxnChg>
      </pc:sldChg>
      <pc:sldChg chg="addSp delSp modSp add mod delAnim">
        <pc:chgData name="STEPANCHENKO, D. (Dmitrii)" userId="30c9d29d-ac41-46ff-b2be-c3f5dd1e26e1" providerId="ADAL" clId="{AECDBD64-E75C-4C05-9678-D3B35BDA44EC}" dt="2023-01-11T18:04:40.555" v="3890" actId="207"/>
        <pc:sldMkLst>
          <pc:docMk/>
          <pc:sldMk cId="2759589870" sldId="2134806350"/>
        </pc:sldMkLst>
        <pc:spChg chg="mod">
          <ac:chgData name="STEPANCHENKO, D. (Dmitrii)" userId="30c9d29d-ac41-46ff-b2be-c3f5dd1e26e1" providerId="ADAL" clId="{AECDBD64-E75C-4C05-9678-D3B35BDA44EC}" dt="2023-01-10T17:42:46.304" v="1860" actId="207"/>
          <ac:spMkLst>
            <pc:docMk/>
            <pc:sldMk cId="2759589870" sldId="2134806350"/>
            <ac:spMk id="2" creationId="{00000000-0000-0000-0000-000000000000}"/>
          </ac:spMkLst>
        </pc:spChg>
        <pc:spChg chg="del mod">
          <ac:chgData name="STEPANCHENKO, D. (Dmitrii)" userId="30c9d29d-ac41-46ff-b2be-c3f5dd1e26e1" providerId="ADAL" clId="{AECDBD64-E75C-4C05-9678-D3B35BDA44EC}" dt="2023-01-10T17:35:41.419" v="1334" actId="478"/>
          <ac:spMkLst>
            <pc:docMk/>
            <pc:sldMk cId="2759589870" sldId="2134806350"/>
            <ac:spMk id="4" creationId="{5B3042FF-B4B3-4086-A2CA-C21FEA2674C1}"/>
          </ac:spMkLst>
        </pc:spChg>
        <pc:spChg chg="mod">
          <ac:chgData name="STEPANCHENKO, D. (Dmitrii)" userId="30c9d29d-ac41-46ff-b2be-c3f5dd1e26e1" providerId="ADAL" clId="{AECDBD64-E75C-4C05-9678-D3B35BDA44EC}" dt="2023-01-11T17:06:34.402" v="2606" actId="20577"/>
          <ac:spMkLst>
            <pc:docMk/>
            <pc:sldMk cId="2759589870" sldId="2134806350"/>
            <ac:spMk id="5" creationId="{81BD1123-3626-1C45-BF5B-1C1864FA8AFA}"/>
          </ac:spMkLst>
        </pc:spChg>
        <pc:spChg chg="del">
          <ac:chgData name="STEPANCHENKO, D. (Dmitrii)" userId="30c9d29d-ac41-46ff-b2be-c3f5dd1e26e1" providerId="ADAL" clId="{AECDBD64-E75C-4C05-9678-D3B35BDA44EC}" dt="2023-01-10T17:24:01.892" v="1281" actId="478"/>
          <ac:spMkLst>
            <pc:docMk/>
            <pc:sldMk cId="2759589870" sldId="2134806350"/>
            <ac:spMk id="7" creationId="{123EC169-7644-486C-8036-F709D2DAEAF0}"/>
          </ac:spMkLst>
        </pc:spChg>
        <pc:spChg chg="add mod">
          <ac:chgData name="STEPANCHENKO, D. (Dmitrii)" userId="30c9d29d-ac41-46ff-b2be-c3f5dd1e26e1" providerId="ADAL" clId="{AECDBD64-E75C-4C05-9678-D3B35BDA44EC}" dt="2023-01-10T17:55:26.467" v="2508" actId="20577"/>
          <ac:spMkLst>
            <pc:docMk/>
            <pc:sldMk cId="2759589870" sldId="2134806350"/>
            <ac:spMk id="16" creationId="{C7BB59C7-6FCB-4656-9DA6-0EFB7D8DE9F6}"/>
          </ac:spMkLst>
        </pc:spChg>
        <pc:spChg chg="add mod">
          <ac:chgData name="STEPANCHENKO, D. (Dmitrii)" userId="30c9d29d-ac41-46ff-b2be-c3f5dd1e26e1" providerId="ADAL" clId="{AECDBD64-E75C-4C05-9678-D3B35BDA44EC}" dt="2023-01-11T17:16:48.222" v="2816" actId="208"/>
          <ac:spMkLst>
            <pc:docMk/>
            <pc:sldMk cId="2759589870" sldId="2134806350"/>
            <ac:spMk id="19" creationId="{3D98BB4E-4B9D-436D-BEDF-E9ABAC4F3A5F}"/>
          </ac:spMkLst>
        </pc:spChg>
        <pc:spChg chg="add mod">
          <ac:chgData name="STEPANCHENKO, D. (Dmitrii)" userId="30c9d29d-ac41-46ff-b2be-c3f5dd1e26e1" providerId="ADAL" clId="{AECDBD64-E75C-4C05-9678-D3B35BDA44EC}" dt="2023-01-10T17:52:27.360" v="2370"/>
          <ac:spMkLst>
            <pc:docMk/>
            <pc:sldMk cId="2759589870" sldId="2134806350"/>
            <ac:spMk id="23" creationId="{79C697E4-9D80-48F3-9380-11306DD6B7BA}"/>
          </ac:spMkLst>
        </pc:spChg>
        <pc:spChg chg="add mod">
          <ac:chgData name="STEPANCHENKO, D. (Dmitrii)" userId="30c9d29d-ac41-46ff-b2be-c3f5dd1e26e1" providerId="ADAL" clId="{AECDBD64-E75C-4C05-9678-D3B35BDA44EC}" dt="2023-01-11T18:04:29.961" v="3887" actId="208"/>
          <ac:spMkLst>
            <pc:docMk/>
            <pc:sldMk cId="2759589870" sldId="2134806350"/>
            <ac:spMk id="24" creationId="{AC22F2D7-F662-4426-B19B-BE46B45582F9}"/>
          </ac:spMkLst>
        </pc:spChg>
        <pc:spChg chg="add mod">
          <ac:chgData name="STEPANCHENKO, D. (Dmitrii)" userId="30c9d29d-ac41-46ff-b2be-c3f5dd1e26e1" providerId="ADAL" clId="{AECDBD64-E75C-4C05-9678-D3B35BDA44EC}" dt="2023-01-10T17:56:56.163" v="2590" actId="1076"/>
          <ac:spMkLst>
            <pc:docMk/>
            <pc:sldMk cId="2759589870" sldId="2134806350"/>
            <ac:spMk id="25" creationId="{CFF448CA-972F-4E02-B230-AFFFA39D9CE3}"/>
          </ac:spMkLst>
        </pc:spChg>
        <pc:graphicFrameChg chg="add mod">
          <ac:chgData name="STEPANCHENKO, D. (Dmitrii)" userId="30c9d29d-ac41-46ff-b2be-c3f5dd1e26e1" providerId="ADAL" clId="{AECDBD64-E75C-4C05-9678-D3B35BDA44EC}" dt="2023-01-11T18:04:40.555" v="3890" actId="207"/>
          <ac:graphicFrameMkLst>
            <pc:docMk/>
            <pc:sldMk cId="2759589870" sldId="2134806350"/>
            <ac:graphicFrameMk id="9" creationId="{91A8818E-71FE-43C6-9D03-22D974473735}"/>
          </ac:graphicFrameMkLst>
        </pc:graphicFrameChg>
        <pc:picChg chg="del">
          <ac:chgData name="STEPANCHENKO, D. (Dmitrii)" userId="30c9d29d-ac41-46ff-b2be-c3f5dd1e26e1" providerId="ADAL" clId="{AECDBD64-E75C-4C05-9678-D3B35BDA44EC}" dt="2023-01-10T17:24:03.894" v="1282" actId="478"/>
          <ac:picMkLst>
            <pc:docMk/>
            <pc:sldMk cId="2759589870" sldId="2134806350"/>
            <ac:picMk id="8" creationId="{0FFAACA2-8C69-4ADF-A6B9-2B8050074E2D}"/>
          </ac:picMkLst>
        </pc:picChg>
        <pc:cxnChg chg="add mod">
          <ac:chgData name="STEPANCHENKO, D. (Dmitrii)" userId="30c9d29d-ac41-46ff-b2be-c3f5dd1e26e1" providerId="ADAL" clId="{AECDBD64-E75C-4C05-9678-D3B35BDA44EC}" dt="2023-01-10T17:55:00.846" v="2502" actId="1036"/>
          <ac:cxnSpMkLst>
            <pc:docMk/>
            <pc:sldMk cId="2759589870" sldId="2134806350"/>
            <ac:cxnSpMk id="6" creationId="{CB7C328B-7A05-4AEC-A787-CD4ECE7AFB6E}"/>
          </ac:cxnSpMkLst>
        </pc:cxnChg>
        <pc:cxnChg chg="add mod">
          <ac:chgData name="STEPANCHENKO, D. (Dmitrii)" userId="30c9d29d-ac41-46ff-b2be-c3f5dd1e26e1" providerId="ADAL" clId="{AECDBD64-E75C-4C05-9678-D3B35BDA44EC}" dt="2023-01-10T17:54:52.625" v="2494" actId="1037"/>
          <ac:cxnSpMkLst>
            <pc:docMk/>
            <pc:sldMk cId="2759589870" sldId="2134806350"/>
            <ac:cxnSpMk id="12" creationId="{4797622E-9141-486A-A8F9-F357C924153B}"/>
          </ac:cxnSpMkLst>
        </pc:cxnChg>
        <pc:cxnChg chg="add mod">
          <ac:chgData name="STEPANCHENKO, D. (Dmitrii)" userId="30c9d29d-ac41-46ff-b2be-c3f5dd1e26e1" providerId="ADAL" clId="{AECDBD64-E75C-4C05-9678-D3B35BDA44EC}" dt="2023-01-10T17:55:03.759" v="2506" actId="1037"/>
          <ac:cxnSpMkLst>
            <pc:docMk/>
            <pc:sldMk cId="2759589870" sldId="2134806350"/>
            <ac:cxnSpMk id="15" creationId="{9F153B35-FCCC-42D3-9C7D-6208D3A9F6D0}"/>
          </ac:cxnSpMkLst>
        </pc:cxnChg>
        <pc:cxnChg chg="add mod">
          <ac:chgData name="STEPANCHENKO, D. (Dmitrii)" userId="30c9d29d-ac41-46ff-b2be-c3f5dd1e26e1" providerId="ADAL" clId="{AECDBD64-E75C-4C05-9678-D3B35BDA44EC}" dt="2023-01-10T17:50:19.613" v="2185" actId="1035"/>
          <ac:cxnSpMkLst>
            <pc:docMk/>
            <pc:sldMk cId="2759589870" sldId="2134806350"/>
            <ac:cxnSpMk id="18" creationId="{217C915B-15F1-4992-B9BE-77406282C0C2}"/>
          </ac:cxnSpMkLst>
        </pc:cxnChg>
        <pc:cxnChg chg="add mod">
          <ac:chgData name="STEPANCHENKO, D. (Dmitrii)" userId="30c9d29d-ac41-46ff-b2be-c3f5dd1e26e1" providerId="ADAL" clId="{AECDBD64-E75C-4C05-9678-D3B35BDA44EC}" dt="2023-01-10T17:54:36.800" v="2442" actId="1038"/>
          <ac:cxnSpMkLst>
            <pc:docMk/>
            <pc:sldMk cId="2759589870" sldId="2134806350"/>
            <ac:cxnSpMk id="20" creationId="{66E140BE-003D-4683-9606-EBCA10243B56}"/>
          </ac:cxnSpMkLst>
        </pc:cxnChg>
        <pc:cxnChg chg="add mod">
          <ac:chgData name="STEPANCHENKO, D. (Dmitrii)" userId="30c9d29d-ac41-46ff-b2be-c3f5dd1e26e1" providerId="ADAL" clId="{AECDBD64-E75C-4C05-9678-D3B35BDA44EC}" dt="2023-01-11T18:04:29.961" v="3887" actId="208"/>
          <ac:cxnSpMkLst>
            <pc:docMk/>
            <pc:sldMk cId="2759589870" sldId="2134806350"/>
            <ac:cxnSpMk id="21" creationId="{7672E221-8CF1-48EF-BAE7-0D19358E5323}"/>
          </ac:cxnSpMkLst>
        </pc:cxnChg>
        <pc:cxnChg chg="add mod">
          <ac:chgData name="STEPANCHENKO, D. (Dmitrii)" userId="30c9d29d-ac41-46ff-b2be-c3f5dd1e26e1" providerId="ADAL" clId="{AECDBD64-E75C-4C05-9678-D3B35BDA44EC}" dt="2023-01-11T18:04:29.961" v="3887" actId="208"/>
          <ac:cxnSpMkLst>
            <pc:docMk/>
            <pc:sldMk cId="2759589870" sldId="2134806350"/>
            <ac:cxnSpMk id="22" creationId="{8C84693E-5F4E-4729-B966-471A481F3524}"/>
          </ac:cxnSpMkLst>
        </pc:cxnChg>
      </pc:sldChg>
      <pc:sldChg chg="add del">
        <pc:chgData name="STEPANCHENKO, D. (Dmitrii)" userId="30c9d29d-ac41-46ff-b2be-c3f5dd1e26e1" providerId="ADAL" clId="{AECDBD64-E75C-4C05-9678-D3B35BDA44EC}" dt="2023-01-05T11:46:45.826" v="1" actId="47"/>
        <pc:sldMkLst>
          <pc:docMk/>
          <pc:sldMk cId="3319432739" sldId="2134806350"/>
        </pc:sldMkLst>
      </pc:sldChg>
      <pc:sldChg chg="addSp delSp modSp add mod ord modAnim">
        <pc:chgData name="STEPANCHENKO, D. (Dmitrii)" userId="30c9d29d-ac41-46ff-b2be-c3f5dd1e26e1" providerId="ADAL" clId="{AECDBD64-E75C-4C05-9678-D3B35BDA44EC}" dt="2023-01-11T17:25:19.858" v="3014" actId="20577"/>
        <pc:sldMkLst>
          <pc:docMk/>
          <pc:sldMk cId="853866529" sldId="2134806351"/>
        </pc:sldMkLst>
        <pc:spChg chg="add mod">
          <ac:chgData name="STEPANCHENKO, D. (Dmitrii)" userId="30c9d29d-ac41-46ff-b2be-c3f5dd1e26e1" providerId="ADAL" clId="{AECDBD64-E75C-4C05-9678-D3B35BDA44EC}" dt="2023-01-11T17:17:27.691" v="2829" actId="1036"/>
          <ac:spMkLst>
            <pc:docMk/>
            <pc:sldMk cId="853866529" sldId="2134806351"/>
            <ac:spMk id="3" creationId="{3BE7636F-1243-4E0B-8D51-F122D728B419}"/>
          </ac:spMkLst>
        </pc:spChg>
        <pc:spChg chg="mod">
          <ac:chgData name="STEPANCHENKO, D. (Dmitrii)" userId="30c9d29d-ac41-46ff-b2be-c3f5dd1e26e1" providerId="ADAL" clId="{AECDBD64-E75C-4C05-9678-D3B35BDA44EC}" dt="2023-01-11T17:25:19.858" v="3014" actId="20577"/>
          <ac:spMkLst>
            <pc:docMk/>
            <pc:sldMk cId="853866529" sldId="2134806351"/>
            <ac:spMk id="5" creationId="{81BD1123-3626-1C45-BF5B-1C1864FA8AFA}"/>
          </ac:spMkLst>
        </pc:spChg>
        <pc:spChg chg="del">
          <ac:chgData name="STEPANCHENKO, D. (Dmitrii)" userId="30c9d29d-ac41-46ff-b2be-c3f5dd1e26e1" providerId="ADAL" clId="{AECDBD64-E75C-4C05-9678-D3B35BDA44EC}" dt="2023-01-11T16:58:50.181" v="2592" actId="478"/>
          <ac:spMkLst>
            <pc:docMk/>
            <pc:sldMk cId="853866529" sldId="2134806351"/>
            <ac:spMk id="16" creationId="{C7BB59C7-6FCB-4656-9DA6-0EFB7D8DE9F6}"/>
          </ac:spMkLst>
        </pc:spChg>
        <pc:spChg chg="del">
          <ac:chgData name="STEPANCHENKO, D. (Dmitrii)" userId="30c9d29d-ac41-46ff-b2be-c3f5dd1e26e1" providerId="ADAL" clId="{AECDBD64-E75C-4C05-9678-D3B35BDA44EC}" dt="2023-01-11T16:58:50.181" v="2592" actId="478"/>
          <ac:spMkLst>
            <pc:docMk/>
            <pc:sldMk cId="853866529" sldId="2134806351"/>
            <ac:spMk id="19" creationId="{3D98BB4E-4B9D-436D-BEDF-E9ABAC4F3A5F}"/>
          </ac:spMkLst>
        </pc:spChg>
        <pc:spChg chg="add del mod">
          <ac:chgData name="STEPANCHENKO, D. (Dmitrii)" userId="30c9d29d-ac41-46ff-b2be-c3f5dd1e26e1" providerId="ADAL" clId="{AECDBD64-E75C-4C05-9678-D3B35BDA44EC}" dt="2023-01-11T17:13:02.319" v="2669" actId="478"/>
          <ac:spMkLst>
            <pc:docMk/>
            <pc:sldMk cId="853866529" sldId="2134806351"/>
            <ac:spMk id="23" creationId="{F7422600-0448-4A69-92C2-CB7DF9814577}"/>
          </ac:spMkLst>
        </pc:spChg>
        <pc:spChg chg="del">
          <ac:chgData name="STEPANCHENKO, D. (Dmitrii)" userId="30c9d29d-ac41-46ff-b2be-c3f5dd1e26e1" providerId="ADAL" clId="{AECDBD64-E75C-4C05-9678-D3B35BDA44EC}" dt="2023-01-11T16:58:50.181" v="2592" actId="478"/>
          <ac:spMkLst>
            <pc:docMk/>
            <pc:sldMk cId="853866529" sldId="2134806351"/>
            <ac:spMk id="24" creationId="{AC22F2D7-F662-4426-B19B-BE46B45582F9}"/>
          </ac:spMkLst>
        </pc:spChg>
        <pc:spChg chg="del">
          <ac:chgData name="STEPANCHENKO, D. (Dmitrii)" userId="30c9d29d-ac41-46ff-b2be-c3f5dd1e26e1" providerId="ADAL" clId="{AECDBD64-E75C-4C05-9678-D3B35BDA44EC}" dt="2023-01-11T16:58:56.605" v="2595" actId="478"/>
          <ac:spMkLst>
            <pc:docMk/>
            <pc:sldMk cId="853866529" sldId="2134806351"/>
            <ac:spMk id="25" creationId="{CFF448CA-972F-4E02-B230-AFFFA39D9CE3}"/>
          </ac:spMkLst>
        </pc:spChg>
        <pc:spChg chg="add mod">
          <ac:chgData name="STEPANCHENKO, D. (Dmitrii)" userId="30c9d29d-ac41-46ff-b2be-c3f5dd1e26e1" providerId="ADAL" clId="{AECDBD64-E75C-4C05-9678-D3B35BDA44EC}" dt="2023-01-11T17:17:23.345" v="2821" actId="1076"/>
          <ac:spMkLst>
            <pc:docMk/>
            <pc:sldMk cId="853866529" sldId="2134806351"/>
            <ac:spMk id="26" creationId="{EA1672C4-2CB1-4557-ACFE-942418292B7F}"/>
          </ac:spMkLst>
        </pc:spChg>
        <pc:spChg chg="add mod">
          <ac:chgData name="STEPANCHENKO, D. (Dmitrii)" userId="30c9d29d-ac41-46ff-b2be-c3f5dd1e26e1" providerId="ADAL" clId="{AECDBD64-E75C-4C05-9678-D3B35BDA44EC}" dt="2023-01-11T17:17:27.691" v="2829" actId="1036"/>
          <ac:spMkLst>
            <pc:docMk/>
            <pc:sldMk cId="853866529" sldId="2134806351"/>
            <ac:spMk id="27" creationId="{A5CBA71D-9F97-491B-B724-48626DE4DA3B}"/>
          </ac:spMkLst>
        </pc:spChg>
        <pc:spChg chg="add mod">
          <ac:chgData name="STEPANCHENKO, D. (Dmitrii)" userId="30c9d29d-ac41-46ff-b2be-c3f5dd1e26e1" providerId="ADAL" clId="{AECDBD64-E75C-4C05-9678-D3B35BDA44EC}" dt="2023-01-11T17:17:27.691" v="2829" actId="1036"/>
          <ac:spMkLst>
            <pc:docMk/>
            <pc:sldMk cId="853866529" sldId="2134806351"/>
            <ac:spMk id="28" creationId="{1100877E-E3A1-4275-8BC4-BC80CF55428B}"/>
          </ac:spMkLst>
        </pc:spChg>
        <pc:spChg chg="add mod">
          <ac:chgData name="STEPANCHENKO, D. (Dmitrii)" userId="30c9d29d-ac41-46ff-b2be-c3f5dd1e26e1" providerId="ADAL" clId="{AECDBD64-E75C-4C05-9678-D3B35BDA44EC}" dt="2023-01-11T17:17:37.977" v="2832" actId="1076"/>
          <ac:spMkLst>
            <pc:docMk/>
            <pc:sldMk cId="853866529" sldId="2134806351"/>
            <ac:spMk id="30" creationId="{1C945C46-2903-442B-AFE6-3BDCA1A34F65}"/>
          </ac:spMkLst>
        </pc:spChg>
        <pc:spChg chg="add mod">
          <ac:chgData name="STEPANCHENKO, D. (Dmitrii)" userId="30c9d29d-ac41-46ff-b2be-c3f5dd1e26e1" providerId="ADAL" clId="{AECDBD64-E75C-4C05-9678-D3B35BDA44EC}" dt="2023-01-11T17:17:27.691" v="2829" actId="1036"/>
          <ac:spMkLst>
            <pc:docMk/>
            <pc:sldMk cId="853866529" sldId="2134806351"/>
            <ac:spMk id="31" creationId="{17D27AF9-8AE3-462C-849B-F22D1AF57A3C}"/>
          </ac:spMkLst>
        </pc:spChg>
        <pc:spChg chg="add mod">
          <ac:chgData name="STEPANCHENKO, D. (Dmitrii)" userId="30c9d29d-ac41-46ff-b2be-c3f5dd1e26e1" providerId="ADAL" clId="{AECDBD64-E75C-4C05-9678-D3B35BDA44EC}" dt="2023-01-11T17:17:27.691" v="2829" actId="1036"/>
          <ac:spMkLst>
            <pc:docMk/>
            <pc:sldMk cId="853866529" sldId="2134806351"/>
            <ac:spMk id="32" creationId="{34966F64-340C-4DA4-8E69-1654537D6289}"/>
          </ac:spMkLst>
        </pc:spChg>
        <pc:spChg chg="add mod">
          <ac:chgData name="STEPANCHENKO, D. (Dmitrii)" userId="30c9d29d-ac41-46ff-b2be-c3f5dd1e26e1" providerId="ADAL" clId="{AECDBD64-E75C-4C05-9678-D3B35BDA44EC}" dt="2023-01-11T17:17:27.691" v="2829" actId="1036"/>
          <ac:spMkLst>
            <pc:docMk/>
            <pc:sldMk cId="853866529" sldId="2134806351"/>
            <ac:spMk id="33" creationId="{5A9A2580-48AF-4A52-8037-DDDE8845D865}"/>
          </ac:spMkLst>
        </pc:spChg>
        <pc:graphicFrameChg chg="del mod">
          <ac:chgData name="STEPANCHENKO, D. (Dmitrii)" userId="30c9d29d-ac41-46ff-b2be-c3f5dd1e26e1" providerId="ADAL" clId="{AECDBD64-E75C-4C05-9678-D3B35BDA44EC}" dt="2023-01-11T16:58:54.109" v="2594" actId="478"/>
          <ac:graphicFrameMkLst>
            <pc:docMk/>
            <pc:sldMk cId="853866529" sldId="2134806351"/>
            <ac:graphicFrameMk id="9" creationId="{91A8818E-71FE-43C6-9D03-22D974473735}"/>
          </ac:graphicFrameMkLst>
        </pc:graphicFrameChg>
        <pc:picChg chg="add mod">
          <ac:chgData name="STEPANCHENKO, D. (Dmitrii)" userId="30c9d29d-ac41-46ff-b2be-c3f5dd1e26e1" providerId="ADAL" clId="{AECDBD64-E75C-4C05-9678-D3B35BDA44EC}" dt="2023-01-11T17:17:51.927" v="2835" actId="14100"/>
          <ac:picMkLst>
            <pc:docMk/>
            <pc:sldMk cId="853866529" sldId="2134806351"/>
            <ac:picMk id="7" creationId="{4244002E-6BD0-4CEE-B5AC-E6318B205A4C}"/>
          </ac:picMkLst>
        </pc:picChg>
        <pc:cxnChg chg="del">
          <ac:chgData name="STEPANCHENKO, D. (Dmitrii)" userId="30c9d29d-ac41-46ff-b2be-c3f5dd1e26e1" providerId="ADAL" clId="{AECDBD64-E75C-4C05-9678-D3B35BDA44EC}" dt="2023-01-11T16:58:50.181" v="2592" actId="478"/>
          <ac:cxnSpMkLst>
            <pc:docMk/>
            <pc:sldMk cId="853866529" sldId="2134806351"/>
            <ac:cxnSpMk id="6" creationId="{CB7C328B-7A05-4AEC-A787-CD4ECE7AFB6E}"/>
          </ac:cxnSpMkLst>
        </pc:cxnChg>
        <pc:cxnChg chg="del">
          <ac:chgData name="STEPANCHENKO, D. (Dmitrii)" userId="30c9d29d-ac41-46ff-b2be-c3f5dd1e26e1" providerId="ADAL" clId="{AECDBD64-E75C-4C05-9678-D3B35BDA44EC}" dt="2023-01-11T16:58:50.181" v="2592" actId="478"/>
          <ac:cxnSpMkLst>
            <pc:docMk/>
            <pc:sldMk cId="853866529" sldId="2134806351"/>
            <ac:cxnSpMk id="12" creationId="{4797622E-9141-486A-A8F9-F357C924153B}"/>
          </ac:cxnSpMkLst>
        </pc:cxnChg>
        <pc:cxnChg chg="del">
          <ac:chgData name="STEPANCHENKO, D. (Dmitrii)" userId="30c9d29d-ac41-46ff-b2be-c3f5dd1e26e1" providerId="ADAL" clId="{AECDBD64-E75C-4C05-9678-D3B35BDA44EC}" dt="2023-01-11T16:58:50.181" v="2592" actId="478"/>
          <ac:cxnSpMkLst>
            <pc:docMk/>
            <pc:sldMk cId="853866529" sldId="2134806351"/>
            <ac:cxnSpMk id="15" creationId="{9F153B35-FCCC-42D3-9C7D-6208D3A9F6D0}"/>
          </ac:cxnSpMkLst>
        </pc:cxnChg>
        <pc:cxnChg chg="add mod">
          <ac:chgData name="STEPANCHENKO, D. (Dmitrii)" userId="30c9d29d-ac41-46ff-b2be-c3f5dd1e26e1" providerId="ADAL" clId="{AECDBD64-E75C-4C05-9678-D3B35BDA44EC}" dt="2023-01-11T17:17:27.691" v="2829" actId="1036"/>
          <ac:cxnSpMkLst>
            <pc:docMk/>
            <pc:sldMk cId="853866529" sldId="2134806351"/>
            <ac:cxnSpMk id="17" creationId="{20DFEBAE-BC9B-4B59-833D-C4FD382B19EE}"/>
          </ac:cxnSpMkLst>
        </pc:cxnChg>
        <pc:cxnChg chg="del">
          <ac:chgData name="STEPANCHENKO, D. (Dmitrii)" userId="30c9d29d-ac41-46ff-b2be-c3f5dd1e26e1" providerId="ADAL" clId="{AECDBD64-E75C-4C05-9678-D3B35BDA44EC}" dt="2023-01-11T16:58:50.181" v="2592" actId="478"/>
          <ac:cxnSpMkLst>
            <pc:docMk/>
            <pc:sldMk cId="853866529" sldId="2134806351"/>
            <ac:cxnSpMk id="18" creationId="{217C915B-15F1-4992-B9BE-77406282C0C2}"/>
          </ac:cxnSpMkLst>
        </pc:cxnChg>
        <pc:cxnChg chg="del">
          <ac:chgData name="STEPANCHENKO, D. (Dmitrii)" userId="30c9d29d-ac41-46ff-b2be-c3f5dd1e26e1" providerId="ADAL" clId="{AECDBD64-E75C-4C05-9678-D3B35BDA44EC}" dt="2023-01-11T16:58:50.181" v="2592" actId="478"/>
          <ac:cxnSpMkLst>
            <pc:docMk/>
            <pc:sldMk cId="853866529" sldId="2134806351"/>
            <ac:cxnSpMk id="20" creationId="{66E140BE-003D-4683-9606-EBCA10243B56}"/>
          </ac:cxnSpMkLst>
        </pc:cxnChg>
        <pc:cxnChg chg="del">
          <ac:chgData name="STEPANCHENKO, D. (Dmitrii)" userId="30c9d29d-ac41-46ff-b2be-c3f5dd1e26e1" providerId="ADAL" clId="{AECDBD64-E75C-4C05-9678-D3B35BDA44EC}" dt="2023-01-11T16:58:50.181" v="2592" actId="478"/>
          <ac:cxnSpMkLst>
            <pc:docMk/>
            <pc:sldMk cId="853866529" sldId="2134806351"/>
            <ac:cxnSpMk id="21" creationId="{7672E221-8CF1-48EF-BAE7-0D19358E5323}"/>
          </ac:cxnSpMkLst>
        </pc:cxnChg>
        <pc:cxnChg chg="del">
          <ac:chgData name="STEPANCHENKO, D. (Dmitrii)" userId="30c9d29d-ac41-46ff-b2be-c3f5dd1e26e1" providerId="ADAL" clId="{AECDBD64-E75C-4C05-9678-D3B35BDA44EC}" dt="2023-01-11T16:58:50.181" v="2592" actId="478"/>
          <ac:cxnSpMkLst>
            <pc:docMk/>
            <pc:sldMk cId="853866529" sldId="2134806351"/>
            <ac:cxnSpMk id="22" creationId="{8C84693E-5F4E-4729-B966-471A481F3524}"/>
          </ac:cxnSpMkLst>
        </pc:cxnChg>
        <pc:cxnChg chg="add mod">
          <ac:chgData name="STEPANCHENKO, D. (Dmitrii)" userId="30c9d29d-ac41-46ff-b2be-c3f5dd1e26e1" providerId="ADAL" clId="{AECDBD64-E75C-4C05-9678-D3B35BDA44EC}" dt="2023-01-11T17:17:27.691" v="2829" actId="1036"/>
          <ac:cxnSpMkLst>
            <pc:docMk/>
            <pc:sldMk cId="853866529" sldId="2134806351"/>
            <ac:cxnSpMk id="29" creationId="{E058FA45-4AA2-486C-B4A2-48DB749EC2FC}"/>
          </ac:cxnSpMkLst>
        </pc:cxnChg>
      </pc:sldChg>
      <pc:sldChg chg="addSp delSp modSp add mod">
        <pc:chgData name="STEPANCHENKO, D. (Dmitrii)" userId="30c9d29d-ac41-46ff-b2be-c3f5dd1e26e1" providerId="ADAL" clId="{AECDBD64-E75C-4C05-9678-D3B35BDA44EC}" dt="2023-01-26T15:09:06.002" v="8029" actId="20577"/>
        <pc:sldMkLst>
          <pc:docMk/>
          <pc:sldMk cId="1653022067" sldId="2134806352"/>
        </pc:sldMkLst>
        <pc:spChg chg="add mod">
          <ac:chgData name="STEPANCHENKO, D. (Dmitrii)" userId="30c9d29d-ac41-46ff-b2be-c3f5dd1e26e1" providerId="ADAL" clId="{AECDBD64-E75C-4C05-9678-D3B35BDA44EC}" dt="2023-01-11T17:22:38.954" v="2992" actId="14100"/>
          <ac:spMkLst>
            <pc:docMk/>
            <pc:sldMk cId="1653022067" sldId="2134806352"/>
            <ac:spMk id="4" creationId="{6325E7AC-67F9-40EF-B869-4829645F24AC}"/>
          </ac:spMkLst>
        </pc:spChg>
        <pc:spChg chg="mod">
          <ac:chgData name="STEPANCHENKO, D. (Dmitrii)" userId="30c9d29d-ac41-46ff-b2be-c3f5dd1e26e1" providerId="ADAL" clId="{AECDBD64-E75C-4C05-9678-D3B35BDA44EC}" dt="2023-01-11T18:14:54.360" v="4056" actId="20577"/>
          <ac:spMkLst>
            <pc:docMk/>
            <pc:sldMk cId="1653022067" sldId="2134806352"/>
            <ac:spMk id="5" creationId="{81BD1123-3626-1C45-BF5B-1C1864FA8AFA}"/>
          </ac:spMkLst>
        </pc:spChg>
        <pc:spChg chg="add del mod">
          <ac:chgData name="STEPANCHENKO, D. (Dmitrii)" userId="30c9d29d-ac41-46ff-b2be-c3f5dd1e26e1" providerId="ADAL" clId="{AECDBD64-E75C-4C05-9678-D3B35BDA44EC}" dt="2023-01-11T17:28:39.252" v="3071" actId="478"/>
          <ac:spMkLst>
            <pc:docMk/>
            <pc:sldMk cId="1653022067" sldId="2134806352"/>
            <ac:spMk id="6" creationId="{90B8FBE2-3BC9-48C4-897E-5F24F8A3FF49}"/>
          </ac:spMkLst>
        </pc:spChg>
        <pc:spChg chg="add del mod">
          <ac:chgData name="STEPANCHENKO, D. (Dmitrii)" userId="30c9d29d-ac41-46ff-b2be-c3f5dd1e26e1" providerId="ADAL" clId="{AECDBD64-E75C-4C05-9678-D3B35BDA44EC}" dt="2023-01-11T17:28:39.252" v="3071" actId="478"/>
          <ac:spMkLst>
            <pc:docMk/>
            <pc:sldMk cId="1653022067" sldId="2134806352"/>
            <ac:spMk id="7" creationId="{40031392-E1B0-4F54-828D-718F91A5B177}"/>
          </ac:spMkLst>
        </pc:spChg>
        <pc:spChg chg="add del mod">
          <ac:chgData name="STEPANCHENKO, D. (Dmitrii)" userId="30c9d29d-ac41-46ff-b2be-c3f5dd1e26e1" providerId="ADAL" clId="{AECDBD64-E75C-4C05-9678-D3B35BDA44EC}" dt="2023-01-11T17:35:20.195" v="3247"/>
          <ac:spMkLst>
            <pc:docMk/>
            <pc:sldMk cId="1653022067" sldId="2134806352"/>
            <ac:spMk id="13" creationId="{70DB52B0-EEF5-4282-A06D-880B401482D2}"/>
          </ac:spMkLst>
        </pc:spChg>
        <pc:spChg chg="add del mod">
          <ac:chgData name="STEPANCHENKO, D. (Dmitrii)" userId="30c9d29d-ac41-46ff-b2be-c3f5dd1e26e1" providerId="ADAL" clId="{AECDBD64-E75C-4C05-9678-D3B35BDA44EC}" dt="2023-01-11T17:47:33.240" v="3367" actId="21"/>
          <ac:spMkLst>
            <pc:docMk/>
            <pc:sldMk cId="1653022067" sldId="2134806352"/>
            <ac:spMk id="24" creationId="{FD9B878D-BEC9-4B3D-9F29-8ED4F54DCCB5}"/>
          </ac:spMkLst>
        </pc:spChg>
        <pc:spChg chg="add del mod">
          <ac:chgData name="STEPANCHENKO, D. (Dmitrii)" userId="30c9d29d-ac41-46ff-b2be-c3f5dd1e26e1" providerId="ADAL" clId="{AECDBD64-E75C-4C05-9678-D3B35BDA44EC}" dt="2023-01-11T17:47:33.240" v="3367" actId="21"/>
          <ac:spMkLst>
            <pc:docMk/>
            <pc:sldMk cId="1653022067" sldId="2134806352"/>
            <ac:spMk id="25" creationId="{3CEF257D-F073-4F0C-901A-0BF77B4F3C82}"/>
          </ac:spMkLst>
        </pc:spChg>
        <pc:spChg chg="add mod">
          <ac:chgData name="STEPANCHENKO, D. (Dmitrii)" userId="30c9d29d-ac41-46ff-b2be-c3f5dd1e26e1" providerId="ADAL" clId="{AECDBD64-E75C-4C05-9678-D3B35BDA44EC}" dt="2023-01-26T15:09:06.002" v="8029" actId="20577"/>
          <ac:spMkLst>
            <pc:docMk/>
            <pc:sldMk cId="1653022067" sldId="2134806352"/>
            <ac:spMk id="29" creationId="{B489BCEE-C2F1-49C1-977B-A9DD12656A59}"/>
          </ac:spMkLst>
        </pc:spChg>
        <pc:graphicFrameChg chg="add mod modGraphic">
          <ac:chgData name="STEPANCHENKO, D. (Dmitrii)" userId="30c9d29d-ac41-46ff-b2be-c3f5dd1e26e1" providerId="ADAL" clId="{AECDBD64-E75C-4C05-9678-D3B35BDA44EC}" dt="2023-01-11T18:13:33.404" v="4042" actId="14100"/>
          <ac:graphicFrameMkLst>
            <pc:docMk/>
            <pc:sldMk cId="1653022067" sldId="2134806352"/>
            <ac:graphicFrameMk id="3" creationId="{B6B98FA0-3239-47C0-81D7-073FC6C4F4D7}"/>
          </ac:graphicFrameMkLst>
        </pc:graphicFrameChg>
        <pc:graphicFrameChg chg="add mod modGraphic">
          <ac:chgData name="STEPANCHENKO, D. (Dmitrii)" userId="30c9d29d-ac41-46ff-b2be-c3f5dd1e26e1" providerId="ADAL" clId="{AECDBD64-E75C-4C05-9678-D3B35BDA44EC}" dt="2023-01-11T18:07:33.585" v="3933" actId="20577"/>
          <ac:graphicFrameMkLst>
            <pc:docMk/>
            <pc:sldMk cId="1653022067" sldId="2134806352"/>
            <ac:graphicFrameMk id="12" creationId="{6B6B6F5A-FC3E-4007-93A3-F1D7F737D82D}"/>
          </ac:graphicFrameMkLst>
        </pc:graphicFrameChg>
        <pc:graphicFrameChg chg="add del mod">
          <ac:chgData name="STEPANCHENKO, D. (Dmitrii)" userId="30c9d29d-ac41-46ff-b2be-c3f5dd1e26e1" providerId="ADAL" clId="{AECDBD64-E75C-4C05-9678-D3B35BDA44EC}" dt="2023-01-11T17:37:05.077" v="3287" actId="478"/>
          <ac:graphicFrameMkLst>
            <pc:docMk/>
            <pc:sldMk cId="1653022067" sldId="2134806352"/>
            <ac:graphicFrameMk id="17" creationId="{5349C688-AA9A-4F07-B5A2-1F33EC6A09F3}"/>
          </ac:graphicFrameMkLst>
        </pc:graphicFrameChg>
        <pc:graphicFrameChg chg="add del mod modGraphic">
          <ac:chgData name="STEPANCHENKO, D. (Dmitrii)" userId="30c9d29d-ac41-46ff-b2be-c3f5dd1e26e1" providerId="ADAL" clId="{AECDBD64-E75C-4C05-9678-D3B35BDA44EC}" dt="2023-01-11T17:53:40.613" v="3471" actId="478"/>
          <ac:graphicFrameMkLst>
            <pc:docMk/>
            <pc:sldMk cId="1653022067" sldId="2134806352"/>
            <ac:graphicFrameMk id="18" creationId="{234934C6-7F8A-4484-BE2D-30E67B753AB5}"/>
          </ac:graphicFrameMkLst>
        </pc:graphicFrameChg>
        <pc:graphicFrameChg chg="add del mod modGraphic">
          <ac:chgData name="STEPANCHENKO, D. (Dmitrii)" userId="30c9d29d-ac41-46ff-b2be-c3f5dd1e26e1" providerId="ADAL" clId="{AECDBD64-E75C-4C05-9678-D3B35BDA44EC}" dt="2023-01-11T17:48:12.873" v="3374" actId="478"/>
          <ac:graphicFrameMkLst>
            <pc:docMk/>
            <pc:sldMk cId="1653022067" sldId="2134806352"/>
            <ac:graphicFrameMk id="21" creationId="{EDA3E5E9-070F-41D5-8A5E-38B6B7355F51}"/>
          </ac:graphicFrameMkLst>
        </pc:graphicFrameChg>
        <pc:graphicFrameChg chg="add mod modGraphic">
          <ac:chgData name="STEPANCHENKO, D. (Dmitrii)" userId="30c9d29d-ac41-46ff-b2be-c3f5dd1e26e1" providerId="ADAL" clId="{AECDBD64-E75C-4C05-9678-D3B35BDA44EC}" dt="2023-01-21T07:49:33.286" v="5652" actId="20577"/>
          <ac:graphicFrameMkLst>
            <pc:docMk/>
            <pc:sldMk cId="1653022067" sldId="2134806352"/>
            <ac:graphicFrameMk id="26" creationId="{B853135D-39E0-4256-A89F-69B04ED5396F}"/>
          </ac:graphicFrameMkLst>
        </pc:graphicFrameChg>
        <pc:graphicFrameChg chg="add mod modGraphic">
          <ac:chgData name="STEPANCHENKO, D. (Dmitrii)" userId="30c9d29d-ac41-46ff-b2be-c3f5dd1e26e1" providerId="ADAL" clId="{AECDBD64-E75C-4C05-9678-D3B35BDA44EC}" dt="2023-01-11T18:13:09.436" v="4039" actId="20577"/>
          <ac:graphicFrameMkLst>
            <pc:docMk/>
            <pc:sldMk cId="1653022067" sldId="2134806352"/>
            <ac:graphicFrameMk id="27" creationId="{EF916E41-6838-46F8-88F0-E74262BAFA6C}"/>
          </ac:graphicFrameMkLst>
        </pc:graphicFrameChg>
        <pc:picChg chg="add del mod">
          <ac:chgData name="STEPANCHENKO, D. (Dmitrii)" userId="30c9d29d-ac41-46ff-b2be-c3f5dd1e26e1" providerId="ADAL" clId="{AECDBD64-E75C-4C05-9678-D3B35BDA44EC}" dt="2023-01-11T17:47:33.240" v="3367" actId="21"/>
          <ac:picMkLst>
            <pc:docMk/>
            <pc:sldMk cId="1653022067" sldId="2134806352"/>
            <ac:picMk id="23" creationId="{C9C62BA3-063E-4F75-A545-9D9814D29613}"/>
          </ac:picMkLst>
        </pc:picChg>
        <pc:cxnChg chg="add mod">
          <ac:chgData name="STEPANCHENKO, D. (Dmitrii)" userId="30c9d29d-ac41-46ff-b2be-c3f5dd1e26e1" providerId="ADAL" clId="{AECDBD64-E75C-4C05-9678-D3B35BDA44EC}" dt="2023-01-11T17:36:26.941" v="3264" actId="14100"/>
          <ac:cxnSpMkLst>
            <pc:docMk/>
            <pc:sldMk cId="1653022067" sldId="2134806352"/>
            <ac:cxnSpMk id="9" creationId="{A7784EA8-D314-46D3-BDD8-432996BABF19}"/>
          </ac:cxnSpMkLst>
        </pc:cxnChg>
        <pc:cxnChg chg="add mod">
          <ac:chgData name="STEPANCHENKO, D. (Dmitrii)" userId="30c9d29d-ac41-46ff-b2be-c3f5dd1e26e1" providerId="ADAL" clId="{AECDBD64-E75C-4C05-9678-D3B35BDA44EC}" dt="2023-01-11T17:36:22.095" v="3263" actId="14100"/>
          <ac:cxnSpMkLst>
            <pc:docMk/>
            <pc:sldMk cId="1653022067" sldId="2134806352"/>
            <ac:cxnSpMk id="11" creationId="{1129C815-3EDF-40C2-87D2-34D9C0FEB2A0}"/>
          </ac:cxnSpMkLst>
        </pc:cxnChg>
      </pc:sldChg>
      <pc:sldChg chg="addSp delSp modSp add mod">
        <pc:chgData name="STEPANCHENKO, D. (Dmitrii)" userId="30c9d29d-ac41-46ff-b2be-c3f5dd1e26e1" providerId="ADAL" clId="{AECDBD64-E75C-4C05-9678-D3B35BDA44EC}" dt="2023-01-11T18:14:31.363" v="4054" actId="20577"/>
        <pc:sldMkLst>
          <pc:docMk/>
          <pc:sldMk cId="3668568787" sldId="2134806353"/>
        </pc:sldMkLst>
        <pc:spChg chg="mod">
          <ac:chgData name="STEPANCHENKO, D. (Dmitrii)" userId="30c9d29d-ac41-46ff-b2be-c3f5dd1e26e1" providerId="ADAL" clId="{AECDBD64-E75C-4C05-9678-D3B35BDA44EC}" dt="2023-01-11T18:14:31.363" v="4054" actId="20577"/>
          <ac:spMkLst>
            <pc:docMk/>
            <pc:sldMk cId="3668568787" sldId="2134806353"/>
            <ac:spMk id="5" creationId="{81BD1123-3626-1C45-BF5B-1C1864FA8AFA}"/>
          </ac:spMkLst>
        </pc:spChg>
        <pc:spChg chg="add mod">
          <ac:chgData name="STEPANCHENKO, D. (Dmitrii)" userId="30c9d29d-ac41-46ff-b2be-c3f5dd1e26e1" providerId="ADAL" clId="{AECDBD64-E75C-4C05-9678-D3B35BDA44EC}" dt="2023-01-11T17:50:53.863" v="3460" actId="1076"/>
          <ac:spMkLst>
            <pc:docMk/>
            <pc:sldMk cId="3668568787" sldId="2134806353"/>
            <ac:spMk id="6" creationId="{643608F7-1E7A-4F80-A9AD-FF9BFDDEC112}"/>
          </ac:spMkLst>
        </pc:spChg>
        <pc:spChg chg="add mod">
          <ac:chgData name="STEPANCHENKO, D. (Dmitrii)" userId="30c9d29d-ac41-46ff-b2be-c3f5dd1e26e1" providerId="ADAL" clId="{AECDBD64-E75C-4C05-9678-D3B35BDA44EC}" dt="2023-01-11T17:50:44.187" v="3459" actId="1076"/>
          <ac:spMkLst>
            <pc:docMk/>
            <pc:sldMk cId="3668568787" sldId="2134806353"/>
            <ac:spMk id="7" creationId="{0731D363-EF78-44C6-8ACE-46AC66811586}"/>
          </ac:spMkLst>
        </pc:spChg>
        <pc:picChg chg="add del mod">
          <ac:chgData name="STEPANCHENKO, D. (Dmitrii)" userId="30c9d29d-ac41-46ff-b2be-c3f5dd1e26e1" providerId="ADAL" clId="{AECDBD64-E75C-4C05-9678-D3B35BDA44EC}" dt="2023-01-11T17:50:03.177" v="3452" actId="478"/>
          <ac:picMkLst>
            <pc:docMk/>
            <pc:sldMk cId="3668568787" sldId="2134806353"/>
            <ac:picMk id="4" creationId="{5E6B07FD-36D6-49F2-AC50-26CF78FDFEED}"/>
          </ac:picMkLst>
        </pc:picChg>
        <pc:picChg chg="add mod ord">
          <ac:chgData name="STEPANCHENKO, D. (Dmitrii)" userId="30c9d29d-ac41-46ff-b2be-c3f5dd1e26e1" providerId="ADAL" clId="{AECDBD64-E75C-4C05-9678-D3B35BDA44EC}" dt="2023-01-11T17:50:41.628" v="3458" actId="167"/>
          <ac:picMkLst>
            <pc:docMk/>
            <pc:sldMk cId="3668568787" sldId="2134806353"/>
            <ac:picMk id="8" creationId="{DC57F71B-64C1-4228-81BC-5B865113477A}"/>
          </ac:picMkLst>
        </pc:picChg>
      </pc:sldChg>
      <pc:sldChg chg="add">
        <pc:chgData name="STEPANCHENKO, D. (Dmitrii)" userId="30c9d29d-ac41-46ff-b2be-c3f5dd1e26e1" providerId="ADAL" clId="{AECDBD64-E75C-4C05-9678-D3B35BDA44EC}" dt="2023-01-11T16:59:00.775" v="2598"/>
        <pc:sldMkLst>
          <pc:docMk/>
          <pc:sldMk cId="1098944605" sldId="2134806354"/>
        </pc:sldMkLst>
      </pc:sldChg>
      <pc:sldChg chg="addSp delSp modSp add del mod">
        <pc:chgData name="STEPANCHENKO, D. (Dmitrii)" userId="30c9d29d-ac41-46ff-b2be-c3f5dd1e26e1" providerId="ADAL" clId="{AECDBD64-E75C-4C05-9678-D3B35BDA44EC}" dt="2023-01-26T13:26:16.636" v="7038" actId="47"/>
        <pc:sldMkLst>
          <pc:docMk/>
          <pc:sldMk cId="1872100274" sldId="2134806355"/>
        </pc:sldMkLst>
        <pc:spChg chg="mod">
          <ac:chgData name="STEPANCHENKO, D. (Dmitrii)" userId="30c9d29d-ac41-46ff-b2be-c3f5dd1e26e1" providerId="ADAL" clId="{AECDBD64-E75C-4C05-9678-D3B35BDA44EC}" dt="2023-01-26T13:25:55.714" v="7027" actId="20577"/>
          <ac:spMkLst>
            <pc:docMk/>
            <pc:sldMk cId="1872100274" sldId="2134806355"/>
            <ac:spMk id="5" creationId="{81BD1123-3626-1C45-BF5B-1C1864FA8AFA}"/>
          </ac:spMkLst>
        </pc:spChg>
        <pc:spChg chg="add del mod">
          <ac:chgData name="STEPANCHENKO, D. (Dmitrii)" userId="30c9d29d-ac41-46ff-b2be-c3f5dd1e26e1" providerId="ADAL" clId="{AECDBD64-E75C-4C05-9678-D3B35BDA44EC}" dt="2023-01-26T13:26:12.860" v="7037"/>
          <ac:spMkLst>
            <pc:docMk/>
            <pc:sldMk cId="1872100274" sldId="2134806355"/>
            <ac:spMk id="6" creationId="{7304A516-7872-1BDB-C272-35B46237BDC5}"/>
          </ac:spMkLst>
        </pc:spChg>
        <pc:spChg chg="del">
          <ac:chgData name="STEPANCHENKO, D. (Dmitrii)" userId="30c9d29d-ac41-46ff-b2be-c3f5dd1e26e1" providerId="ADAL" clId="{AECDBD64-E75C-4C05-9678-D3B35BDA44EC}" dt="2023-01-26T13:25:50.192" v="7023" actId="478"/>
          <ac:spMkLst>
            <pc:docMk/>
            <pc:sldMk cId="1872100274" sldId="2134806355"/>
            <ac:spMk id="9" creationId="{17E51F88-4398-76C0-3DF9-8503C88BEBE1}"/>
          </ac:spMkLst>
        </pc:spChg>
        <pc:graphicFrameChg chg="del">
          <ac:chgData name="STEPANCHENKO, D. (Dmitrii)" userId="30c9d29d-ac41-46ff-b2be-c3f5dd1e26e1" providerId="ADAL" clId="{AECDBD64-E75C-4C05-9678-D3B35BDA44EC}" dt="2023-01-26T13:25:50.192" v="7023" actId="478"/>
          <ac:graphicFrameMkLst>
            <pc:docMk/>
            <pc:sldMk cId="1872100274" sldId="2134806355"/>
            <ac:graphicFrameMk id="3" creationId="{A12E7895-C2CC-4F97-8797-1EDFDB6BAB8A}"/>
          </ac:graphicFrameMkLst>
        </pc:graphicFrameChg>
        <pc:graphicFrameChg chg="del">
          <ac:chgData name="STEPANCHENKO, D. (Dmitrii)" userId="30c9d29d-ac41-46ff-b2be-c3f5dd1e26e1" providerId="ADAL" clId="{AECDBD64-E75C-4C05-9678-D3B35BDA44EC}" dt="2023-01-26T13:25:50.192" v="7023" actId="478"/>
          <ac:graphicFrameMkLst>
            <pc:docMk/>
            <pc:sldMk cId="1872100274" sldId="2134806355"/>
            <ac:graphicFrameMk id="8" creationId="{1A4ACF02-C0D9-4956-8284-1CE9DD6E2608}"/>
          </ac:graphicFrameMkLst>
        </pc:graphicFrameChg>
      </pc:sldChg>
    </pc:docChg>
  </pc:docChgLst>
  <pc:docChgLst>
    <pc:chgData name="STEPANCHENKO, D. (Dmitrii)" userId="30c9d29d-ac41-46ff-b2be-c3f5dd1e26e1" providerId="ADAL" clId="{7A1EF71E-A1B1-4CDA-8D70-B6DB6AB4BC87}"/>
    <pc:docChg chg="custSel delSld modSld modSection">
      <pc:chgData name="STEPANCHENKO, D. (Dmitrii)" userId="30c9d29d-ac41-46ff-b2be-c3f5dd1e26e1" providerId="ADAL" clId="{7A1EF71E-A1B1-4CDA-8D70-B6DB6AB4BC87}" dt="2023-03-13T17:53:59.297" v="45" actId="20577"/>
      <pc:docMkLst>
        <pc:docMk/>
      </pc:docMkLst>
      <pc:sldChg chg="delSp mod delAnim">
        <pc:chgData name="STEPANCHENKO, D. (Dmitrii)" userId="30c9d29d-ac41-46ff-b2be-c3f5dd1e26e1" providerId="ADAL" clId="{7A1EF71E-A1B1-4CDA-8D70-B6DB6AB4BC87}" dt="2023-03-13T17:45:07.763" v="9" actId="478"/>
        <pc:sldMkLst>
          <pc:docMk/>
          <pc:sldMk cId="2322687294" sldId="2134806289"/>
        </pc:sldMkLst>
        <pc:picChg chg="del">
          <ac:chgData name="STEPANCHENKO, D. (Dmitrii)" userId="30c9d29d-ac41-46ff-b2be-c3f5dd1e26e1" providerId="ADAL" clId="{7A1EF71E-A1B1-4CDA-8D70-B6DB6AB4BC87}" dt="2023-03-13T17:45:07.763" v="9" actId="478"/>
          <ac:picMkLst>
            <pc:docMk/>
            <pc:sldMk cId="2322687294" sldId="2134806289"/>
            <ac:picMk id="11" creationId="{9279D2BE-9154-94D6-EBFA-94DF5710182F}"/>
          </ac:picMkLst>
        </pc:picChg>
      </pc:sldChg>
      <pc:sldChg chg="delCm">
        <pc:chgData name="STEPANCHENKO, D. (Dmitrii)" userId="30c9d29d-ac41-46ff-b2be-c3f5dd1e26e1" providerId="ADAL" clId="{7A1EF71E-A1B1-4CDA-8D70-B6DB6AB4BC87}" dt="2023-03-13T16:09:43.826" v="2"/>
        <pc:sldMkLst>
          <pc:docMk/>
          <pc:sldMk cId="3089211194" sldId="2134806330"/>
        </pc:sldMkLst>
      </pc:sldChg>
      <pc:sldChg chg="delSp mod delAnim">
        <pc:chgData name="STEPANCHENKO, D. (Dmitrii)" userId="30c9d29d-ac41-46ff-b2be-c3f5dd1e26e1" providerId="ADAL" clId="{7A1EF71E-A1B1-4CDA-8D70-B6DB6AB4BC87}" dt="2023-03-13T17:45:24.326" v="10" actId="478"/>
        <pc:sldMkLst>
          <pc:docMk/>
          <pc:sldMk cId="3444687285" sldId="2134806333"/>
        </pc:sldMkLst>
        <pc:picChg chg="del">
          <ac:chgData name="STEPANCHENKO, D. (Dmitrii)" userId="30c9d29d-ac41-46ff-b2be-c3f5dd1e26e1" providerId="ADAL" clId="{7A1EF71E-A1B1-4CDA-8D70-B6DB6AB4BC87}" dt="2023-03-13T17:45:24.326" v="10" actId="478"/>
          <ac:picMkLst>
            <pc:docMk/>
            <pc:sldMk cId="3444687285" sldId="2134806333"/>
            <ac:picMk id="20" creationId="{9D55DA0E-76E7-4354-9CE5-36B7E462E1CC}"/>
          </ac:picMkLst>
        </pc:picChg>
      </pc:sldChg>
      <pc:sldChg chg="delSp mod delAnim">
        <pc:chgData name="STEPANCHENKO, D. (Dmitrii)" userId="30c9d29d-ac41-46ff-b2be-c3f5dd1e26e1" providerId="ADAL" clId="{7A1EF71E-A1B1-4CDA-8D70-B6DB6AB4BC87}" dt="2023-03-13T16:21:17.444" v="8" actId="478"/>
        <pc:sldMkLst>
          <pc:docMk/>
          <pc:sldMk cId="1608794076" sldId="2134806336"/>
        </pc:sldMkLst>
        <pc:picChg chg="del">
          <ac:chgData name="STEPANCHENKO, D. (Dmitrii)" userId="30c9d29d-ac41-46ff-b2be-c3f5dd1e26e1" providerId="ADAL" clId="{7A1EF71E-A1B1-4CDA-8D70-B6DB6AB4BC87}" dt="2023-03-13T16:21:17.444" v="8" actId="478"/>
          <ac:picMkLst>
            <pc:docMk/>
            <pc:sldMk cId="1608794076" sldId="2134806336"/>
            <ac:picMk id="8" creationId="{0FFAACA2-8C69-4ADF-A6B9-2B8050074E2D}"/>
          </ac:picMkLst>
        </pc:picChg>
      </pc:sldChg>
      <pc:sldChg chg="delSp mod delAnim">
        <pc:chgData name="STEPANCHENKO, D. (Dmitrii)" userId="30c9d29d-ac41-46ff-b2be-c3f5dd1e26e1" providerId="ADAL" clId="{7A1EF71E-A1B1-4CDA-8D70-B6DB6AB4BC87}" dt="2023-03-13T17:45:27.504" v="11" actId="478"/>
        <pc:sldMkLst>
          <pc:docMk/>
          <pc:sldMk cId="853866529" sldId="2134806351"/>
        </pc:sldMkLst>
        <pc:picChg chg="del">
          <ac:chgData name="STEPANCHENKO, D. (Dmitrii)" userId="30c9d29d-ac41-46ff-b2be-c3f5dd1e26e1" providerId="ADAL" clId="{7A1EF71E-A1B1-4CDA-8D70-B6DB6AB4BC87}" dt="2023-03-13T17:45:27.504" v="11" actId="478"/>
          <ac:picMkLst>
            <pc:docMk/>
            <pc:sldMk cId="853866529" sldId="2134806351"/>
            <ac:picMk id="7" creationId="{4244002E-6BD0-4CEE-B5AC-E6318B205A4C}"/>
          </ac:picMkLst>
        </pc:picChg>
      </pc:sldChg>
      <pc:sldChg chg="modSp mod">
        <pc:chgData name="STEPANCHENKO, D. (Dmitrii)" userId="30c9d29d-ac41-46ff-b2be-c3f5dd1e26e1" providerId="ADAL" clId="{7A1EF71E-A1B1-4CDA-8D70-B6DB6AB4BC87}" dt="2023-03-13T17:53:59.297" v="45" actId="20577"/>
        <pc:sldMkLst>
          <pc:docMk/>
          <pc:sldMk cId="3668568787" sldId="2134806353"/>
        </pc:sldMkLst>
        <pc:spChg chg="mod">
          <ac:chgData name="STEPANCHENKO, D. (Dmitrii)" userId="30c9d29d-ac41-46ff-b2be-c3f5dd1e26e1" providerId="ADAL" clId="{7A1EF71E-A1B1-4CDA-8D70-B6DB6AB4BC87}" dt="2023-03-13T16:11:20.031" v="7" actId="20577"/>
          <ac:spMkLst>
            <pc:docMk/>
            <pc:sldMk cId="3668568787" sldId="2134806353"/>
            <ac:spMk id="3" creationId="{DB9E73A9-A0A4-C806-F42F-58CB910E438C}"/>
          </ac:spMkLst>
        </pc:spChg>
        <pc:spChg chg="mod">
          <ac:chgData name="STEPANCHENKO, D. (Dmitrii)" userId="30c9d29d-ac41-46ff-b2be-c3f5dd1e26e1" providerId="ADAL" clId="{7A1EF71E-A1B1-4CDA-8D70-B6DB6AB4BC87}" dt="2023-03-13T17:53:56.528" v="43" actId="1076"/>
          <ac:spMkLst>
            <pc:docMk/>
            <pc:sldMk cId="3668568787" sldId="2134806353"/>
            <ac:spMk id="6" creationId="{643608F7-1E7A-4F80-A9AD-FF9BFDDEC112}"/>
          </ac:spMkLst>
        </pc:spChg>
        <pc:spChg chg="mod">
          <ac:chgData name="STEPANCHENKO, D. (Dmitrii)" userId="30c9d29d-ac41-46ff-b2be-c3f5dd1e26e1" providerId="ADAL" clId="{7A1EF71E-A1B1-4CDA-8D70-B6DB6AB4BC87}" dt="2023-03-13T17:53:59.297" v="45" actId="20577"/>
          <ac:spMkLst>
            <pc:docMk/>
            <pc:sldMk cId="3668568787" sldId="2134806353"/>
            <ac:spMk id="7" creationId="{0731D363-EF78-44C6-8ACE-46AC66811586}"/>
          </ac:spMkLst>
        </pc:spChg>
      </pc:sldChg>
      <pc:sldChg chg="delSp mod delAnim">
        <pc:chgData name="STEPANCHENKO, D. (Dmitrii)" userId="30c9d29d-ac41-46ff-b2be-c3f5dd1e26e1" providerId="ADAL" clId="{7A1EF71E-A1B1-4CDA-8D70-B6DB6AB4BC87}" dt="2023-03-13T17:45:37.084" v="14" actId="478"/>
        <pc:sldMkLst>
          <pc:docMk/>
          <pc:sldMk cId="3369279782" sldId="2134806356"/>
        </pc:sldMkLst>
        <pc:picChg chg="del">
          <ac:chgData name="STEPANCHENKO, D. (Dmitrii)" userId="30c9d29d-ac41-46ff-b2be-c3f5dd1e26e1" providerId="ADAL" clId="{7A1EF71E-A1B1-4CDA-8D70-B6DB6AB4BC87}" dt="2023-03-13T17:45:37.084" v="14" actId="478"/>
          <ac:picMkLst>
            <pc:docMk/>
            <pc:sldMk cId="3369279782" sldId="2134806356"/>
            <ac:picMk id="9" creationId="{C80B9A66-3428-C538-1BD2-9B9B791E807F}"/>
          </ac:picMkLst>
        </pc:picChg>
      </pc:sldChg>
      <pc:sldChg chg="delSp mod delAnim">
        <pc:chgData name="STEPANCHENKO, D. (Dmitrii)" userId="30c9d29d-ac41-46ff-b2be-c3f5dd1e26e1" providerId="ADAL" clId="{7A1EF71E-A1B1-4CDA-8D70-B6DB6AB4BC87}" dt="2023-03-13T17:45:34.358" v="13" actId="478"/>
        <pc:sldMkLst>
          <pc:docMk/>
          <pc:sldMk cId="3050701029" sldId="2134806360"/>
        </pc:sldMkLst>
        <pc:picChg chg="del">
          <ac:chgData name="STEPANCHENKO, D. (Dmitrii)" userId="30c9d29d-ac41-46ff-b2be-c3f5dd1e26e1" providerId="ADAL" clId="{7A1EF71E-A1B1-4CDA-8D70-B6DB6AB4BC87}" dt="2023-03-13T17:45:33.512" v="12" actId="478"/>
          <ac:picMkLst>
            <pc:docMk/>
            <pc:sldMk cId="3050701029" sldId="2134806360"/>
            <ac:picMk id="4" creationId="{9C6A06DA-CE01-6B3F-13C2-F4C175FDF3AA}"/>
          </ac:picMkLst>
        </pc:picChg>
        <pc:picChg chg="del">
          <ac:chgData name="STEPANCHENKO, D. (Dmitrii)" userId="30c9d29d-ac41-46ff-b2be-c3f5dd1e26e1" providerId="ADAL" clId="{7A1EF71E-A1B1-4CDA-8D70-B6DB6AB4BC87}" dt="2023-03-13T17:45:34.358" v="13" actId="478"/>
          <ac:picMkLst>
            <pc:docMk/>
            <pc:sldMk cId="3050701029" sldId="2134806360"/>
            <ac:picMk id="15" creationId="{C90AD324-2A4D-D37E-352B-BFA5715A5DF7}"/>
          </ac:picMkLst>
        </pc:picChg>
      </pc:sldChg>
      <pc:sldChg chg="del">
        <pc:chgData name="STEPANCHENKO, D. (Dmitrii)" userId="30c9d29d-ac41-46ff-b2be-c3f5dd1e26e1" providerId="ADAL" clId="{7A1EF71E-A1B1-4CDA-8D70-B6DB6AB4BC87}" dt="2023-03-13T17:45:43.868" v="15" actId="47"/>
        <pc:sldMkLst>
          <pc:docMk/>
          <pc:sldMk cId="1030256302" sldId="2134806363"/>
        </pc:sldMkLst>
      </pc:sldChg>
      <pc:sldChg chg="delSp mod delAnim">
        <pc:chgData name="STEPANCHENKO, D. (Dmitrii)" userId="30c9d29d-ac41-46ff-b2be-c3f5dd1e26e1" providerId="ADAL" clId="{7A1EF71E-A1B1-4CDA-8D70-B6DB6AB4BC87}" dt="2023-03-13T17:45:58.223" v="16" actId="478"/>
        <pc:sldMkLst>
          <pc:docMk/>
          <pc:sldMk cId="2009647800" sldId="2134806365"/>
        </pc:sldMkLst>
        <pc:picChg chg="del">
          <ac:chgData name="STEPANCHENKO, D. (Dmitrii)" userId="30c9d29d-ac41-46ff-b2be-c3f5dd1e26e1" providerId="ADAL" clId="{7A1EF71E-A1B1-4CDA-8D70-B6DB6AB4BC87}" dt="2023-03-13T17:45:58.223" v="16" actId="478"/>
          <ac:picMkLst>
            <pc:docMk/>
            <pc:sldMk cId="2009647800" sldId="2134806365"/>
            <ac:picMk id="7" creationId="{E2561070-4ADF-F47E-C76D-691903EC337A}"/>
          </ac:picMkLst>
        </pc:picChg>
      </pc:sldChg>
    </pc:docChg>
  </pc:docChgLst>
  <pc:docChgLst>
    <pc:chgData name="STEPANCHENKO, D. (Dmitrii)" userId="30c9d29d-ac41-46ff-b2be-c3f5dd1e26e1" providerId="ADAL" clId="{F1089F27-2CA7-4F6B-AF97-026CBAF4CD7A}"/>
    <pc:docChg chg="undo custSel modSld">
      <pc:chgData name="STEPANCHENKO, D. (Dmitrii)" userId="30c9d29d-ac41-46ff-b2be-c3f5dd1e26e1" providerId="ADAL" clId="{F1089F27-2CA7-4F6B-AF97-026CBAF4CD7A}" dt="2023-02-10T14:10:47.477" v="51" actId="6549"/>
      <pc:docMkLst>
        <pc:docMk/>
      </pc:docMkLst>
      <pc:sldChg chg="modSp mod">
        <pc:chgData name="STEPANCHENKO, D. (Dmitrii)" userId="30c9d29d-ac41-46ff-b2be-c3f5dd1e26e1" providerId="ADAL" clId="{F1089F27-2CA7-4F6B-AF97-026CBAF4CD7A}" dt="2023-02-10T14:10:47.477" v="51" actId="6549"/>
        <pc:sldMkLst>
          <pc:docMk/>
          <pc:sldMk cId="2322687294" sldId="2134806289"/>
        </pc:sldMkLst>
        <pc:spChg chg="mod">
          <ac:chgData name="STEPANCHENKO, D. (Dmitrii)" userId="30c9d29d-ac41-46ff-b2be-c3f5dd1e26e1" providerId="ADAL" clId="{F1089F27-2CA7-4F6B-AF97-026CBAF4CD7A}" dt="2023-02-10T14:10:47.477" v="51" actId="6549"/>
          <ac:spMkLst>
            <pc:docMk/>
            <pc:sldMk cId="2322687294" sldId="2134806289"/>
            <ac:spMk id="4" creationId="{FABF48EB-F5DD-73B7-0214-661762AC84D0}"/>
          </ac:spMkLst>
        </pc:spChg>
      </pc:sldChg>
      <pc:sldChg chg="modSp mod">
        <pc:chgData name="STEPANCHENKO, D. (Dmitrii)" userId="30c9d29d-ac41-46ff-b2be-c3f5dd1e26e1" providerId="ADAL" clId="{F1089F27-2CA7-4F6B-AF97-026CBAF4CD7A}" dt="2023-02-10T14:09:36.479" v="10" actId="20577"/>
        <pc:sldMkLst>
          <pc:docMk/>
          <pc:sldMk cId="3352262577" sldId="2134806328"/>
        </pc:sldMkLst>
        <pc:graphicFrameChg chg="mod modGraphic">
          <ac:chgData name="STEPANCHENKO, D. (Dmitrii)" userId="30c9d29d-ac41-46ff-b2be-c3f5dd1e26e1" providerId="ADAL" clId="{F1089F27-2CA7-4F6B-AF97-026CBAF4CD7A}" dt="2023-02-10T14:09:36.479" v="10" actId="20577"/>
          <ac:graphicFrameMkLst>
            <pc:docMk/>
            <pc:sldMk cId="3352262577" sldId="2134806328"/>
            <ac:graphicFrameMk id="14" creationId="{C5F7A9A8-78D1-454D-96FA-2A934AA6F49F}"/>
          </ac:graphicFrameMkLst>
        </pc:graphicFrameChg>
      </pc:sldChg>
    </pc:docChg>
  </pc:docChgLst>
  <pc:docChgLst>
    <pc:chgData name="STEPANCHENKO, D. (Dmitrii)" userId="30c9d29d-ac41-46ff-b2be-c3f5dd1e26e1" providerId="ADAL" clId="{6AAC7FF4-A7AB-4DB2-AAE2-E1C397793EF0}"/>
    <pc:docChg chg="undo redo custSel addSld delSld modSld modSection">
      <pc:chgData name="STEPANCHENKO, D. (Dmitrii)" userId="30c9d29d-ac41-46ff-b2be-c3f5dd1e26e1" providerId="ADAL" clId="{6AAC7FF4-A7AB-4DB2-AAE2-E1C397793EF0}" dt="2022-12-14T17:11:28.404" v="256" actId="478"/>
      <pc:docMkLst>
        <pc:docMk/>
      </pc:docMkLst>
      <pc:sldChg chg="modSp mod">
        <pc:chgData name="STEPANCHENKO, D. (Dmitrii)" userId="30c9d29d-ac41-46ff-b2be-c3f5dd1e26e1" providerId="ADAL" clId="{6AAC7FF4-A7AB-4DB2-AAE2-E1C397793EF0}" dt="2022-12-14T16:52:04.716" v="44" actId="20577"/>
        <pc:sldMkLst>
          <pc:docMk/>
          <pc:sldMk cId="4146022198" sldId="2134806269"/>
        </pc:sldMkLst>
        <pc:spChg chg="mod">
          <ac:chgData name="STEPANCHENKO, D. (Dmitrii)" userId="30c9d29d-ac41-46ff-b2be-c3f5dd1e26e1" providerId="ADAL" clId="{6AAC7FF4-A7AB-4DB2-AAE2-E1C397793EF0}" dt="2022-12-14T16:52:04.716" v="44" actId="20577"/>
          <ac:spMkLst>
            <pc:docMk/>
            <pc:sldMk cId="4146022198" sldId="2134806269"/>
            <ac:spMk id="9" creationId="{0321E1AF-71DF-9F4F-49D4-42B6DEF18470}"/>
          </ac:spMkLst>
        </pc:spChg>
      </pc:sldChg>
      <pc:sldChg chg="modSp mod">
        <pc:chgData name="STEPANCHENKO, D. (Dmitrii)" userId="30c9d29d-ac41-46ff-b2be-c3f5dd1e26e1" providerId="ADAL" clId="{6AAC7FF4-A7AB-4DB2-AAE2-E1C397793EF0}" dt="2022-12-14T16:55:28.074" v="80" actId="20577"/>
        <pc:sldMkLst>
          <pc:docMk/>
          <pc:sldMk cId="3806807723" sldId="2134806271"/>
        </pc:sldMkLst>
        <pc:graphicFrameChg chg="modGraphic">
          <ac:chgData name="STEPANCHENKO, D. (Dmitrii)" userId="30c9d29d-ac41-46ff-b2be-c3f5dd1e26e1" providerId="ADAL" clId="{6AAC7FF4-A7AB-4DB2-AAE2-E1C397793EF0}" dt="2022-12-14T16:55:28.074" v="80" actId="20577"/>
          <ac:graphicFrameMkLst>
            <pc:docMk/>
            <pc:sldMk cId="3806807723" sldId="2134806271"/>
            <ac:graphicFrameMk id="4" creationId="{4FA4670E-7F8F-F66C-8A96-9C378A643C68}"/>
          </ac:graphicFrameMkLst>
        </pc:graphicFrameChg>
      </pc:sldChg>
      <pc:sldChg chg="addSp delSp modSp mod">
        <pc:chgData name="STEPANCHENKO, D. (Dmitrii)" userId="30c9d29d-ac41-46ff-b2be-c3f5dd1e26e1" providerId="ADAL" clId="{6AAC7FF4-A7AB-4DB2-AAE2-E1C397793EF0}" dt="2022-12-14T17:11:20.739" v="255" actId="20577"/>
        <pc:sldMkLst>
          <pc:docMk/>
          <pc:sldMk cId="4005348636" sldId="2134806275"/>
        </pc:sldMkLst>
        <pc:spChg chg="mod">
          <ac:chgData name="STEPANCHENKO, D. (Dmitrii)" userId="30c9d29d-ac41-46ff-b2be-c3f5dd1e26e1" providerId="ADAL" clId="{6AAC7FF4-A7AB-4DB2-AAE2-E1C397793EF0}" dt="2022-12-14T17:11:20.739" v="255" actId="20577"/>
          <ac:spMkLst>
            <pc:docMk/>
            <pc:sldMk cId="4005348636" sldId="2134806275"/>
            <ac:spMk id="6" creationId="{55DC015C-12FE-A55C-DF36-68759984506F}"/>
          </ac:spMkLst>
        </pc:spChg>
        <pc:spChg chg="add del mod">
          <ac:chgData name="STEPANCHENKO, D. (Dmitrii)" userId="30c9d29d-ac41-46ff-b2be-c3f5dd1e26e1" providerId="ADAL" clId="{6AAC7FF4-A7AB-4DB2-AAE2-E1C397793EF0}" dt="2022-12-14T16:59:21.622" v="178" actId="478"/>
          <ac:spMkLst>
            <pc:docMk/>
            <pc:sldMk cId="4005348636" sldId="2134806275"/>
            <ac:spMk id="7" creationId="{3C481758-00F6-42FE-B8B2-008E0FDCECFC}"/>
          </ac:spMkLst>
        </pc:spChg>
        <pc:spChg chg="add mod">
          <ac:chgData name="STEPANCHENKO, D. (Dmitrii)" userId="30c9d29d-ac41-46ff-b2be-c3f5dd1e26e1" providerId="ADAL" clId="{6AAC7FF4-A7AB-4DB2-AAE2-E1C397793EF0}" dt="2022-12-14T17:03:15.472" v="248" actId="1076"/>
          <ac:spMkLst>
            <pc:docMk/>
            <pc:sldMk cId="4005348636" sldId="2134806275"/>
            <ac:spMk id="8" creationId="{9EBC456F-B5A9-419C-BE04-72F06FDA7584}"/>
          </ac:spMkLst>
        </pc:spChg>
        <pc:graphicFrameChg chg="mod">
          <ac:chgData name="STEPANCHENKO, D. (Dmitrii)" userId="30c9d29d-ac41-46ff-b2be-c3f5dd1e26e1" providerId="ADAL" clId="{6AAC7FF4-A7AB-4DB2-AAE2-E1C397793EF0}" dt="2022-12-14T17:03:22.394" v="250" actId="14100"/>
          <ac:graphicFrameMkLst>
            <pc:docMk/>
            <pc:sldMk cId="4005348636" sldId="2134806275"/>
            <ac:graphicFrameMk id="4" creationId="{11CFC757-5727-5D67-8831-9EC4CE6B6F84}"/>
          </ac:graphicFrameMkLst>
        </pc:graphicFrameChg>
        <pc:graphicFrameChg chg="mod">
          <ac:chgData name="STEPANCHENKO, D. (Dmitrii)" userId="30c9d29d-ac41-46ff-b2be-c3f5dd1e26e1" providerId="ADAL" clId="{6AAC7FF4-A7AB-4DB2-AAE2-E1C397793EF0}" dt="2022-12-14T17:03:22.394" v="250" actId="14100"/>
          <ac:graphicFrameMkLst>
            <pc:docMk/>
            <pc:sldMk cId="4005348636" sldId="2134806275"/>
            <ac:graphicFrameMk id="11" creationId="{B2FF438D-1B50-288E-3939-8606CECB8F6D}"/>
          </ac:graphicFrameMkLst>
        </pc:graphicFrameChg>
        <pc:picChg chg="add del mod">
          <ac:chgData name="STEPANCHENKO, D. (Dmitrii)" userId="30c9d29d-ac41-46ff-b2be-c3f5dd1e26e1" providerId="ADAL" clId="{6AAC7FF4-A7AB-4DB2-AAE2-E1C397793EF0}" dt="2022-12-14T17:10:40.419" v="251" actId="478"/>
          <ac:picMkLst>
            <pc:docMk/>
            <pc:sldMk cId="4005348636" sldId="2134806275"/>
            <ac:picMk id="3" creationId="{00000000-0000-0000-0000-000000000000}"/>
          </ac:picMkLst>
        </pc:picChg>
      </pc:sldChg>
      <pc:sldChg chg="modSp mod">
        <pc:chgData name="STEPANCHENKO, D. (Dmitrii)" userId="30c9d29d-ac41-46ff-b2be-c3f5dd1e26e1" providerId="ADAL" clId="{6AAC7FF4-A7AB-4DB2-AAE2-E1C397793EF0}" dt="2022-12-14T16:56:56.040" v="154" actId="14100"/>
        <pc:sldMkLst>
          <pc:docMk/>
          <pc:sldMk cId="2322687294" sldId="2134806289"/>
        </pc:sldMkLst>
        <pc:spChg chg="mod">
          <ac:chgData name="STEPANCHENKO, D. (Dmitrii)" userId="30c9d29d-ac41-46ff-b2be-c3f5dd1e26e1" providerId="ADAL" clId="{6AAC7FF4-A7AB-4DB2-AAE2-E1C397793EF0}" dt="2022-12-14T16:55:31.550" v="83" actId="20577"/>
          <ac:spMkLst>
            <pc:docMk/>
            <pc:sldMk cId="2322687294" sldId="2134806289"/>
            <ac:spMk id="5" creationId="{81BD1123-3626-1C45-BF5B-1C1864FA8AFA}"/>
          </ac:spMkLst>
        </pc:spChg>
        <pc:spChg chg="mod">
          <ac:chgData name="STEPANCHENKO, D. (Dmitrii)" userId="30c9d29d-ac41-46ff-b2be-c3f5dd1e26e1" providerId="ADAL" clId="{6AAC7FF4-A7AB-4DB2-AAE2-E1C397793EF0}" dt="2022-12-14T16:56:56.040" v="154" actId="14100"/>
          <ac:spMkLst>
            <pc:docMk/>
            <pc:sldMk cId="2322687294" sldId="2134806289"/>
            <ac:spMk id="6" creationId="{7304A516-7872-1BDB-C272-35B46237BDC5}"/>
          </ac:spMkLst>
        </pc:spChg>
        <pc:spChg chg="mod">
          <ac:chgData name="STEPANCHENKO, D. (Dmitrii)" userId="30c9d29d-ac41-46ff-b2be-c3f5dd1e26e1" providerId="ADAL" clId="{6AAC7FF4-A7AB-4DB2-AAE2-E1C397793EF0}" dt="2022-12-14T16:55:00.139" v="50" actId="20577"/>
          <ac:spMkLst>
            <pc:docMk/>
            <pc:sldMk cId="2322687294" sldId="2134806289"/>
            <ac:spMk id="7" creationId="{CF7A709A-ACDD-6ACC-C04E-047E625272FA}"/>
          </ac:spMkLst>
        </pc:spChg>
        <pc:graphicFrameChg chg="mod">
          <ac:chgData name="STEPANCHENKO, D. (Dmitrii)" userId="30c9d29d-ac41-46ff-b2be-c3f5dd1e26e1" providerId="ADAL" clId="{6AAC7FF4-A7AB-4DB2-AAE2-E1C397793EF0}" dt="2022-12-14T16:56:01.526" v="85" actId="14100"/>
          <ac:graphicFrameMkLst>
            <pc:docMk/>
            <pc:sldMk cId="2322687294" sldId="2134806289"/>
            <ac:graphicFrameMk id="3" creationId="{A12E7895-C2CC-4F97-8797-1EDFDB6BAB8A}"/>
          </ac:graphicFrameMkLst>
        </pc:graphicFrameChg>
      </pc:sldChg>
      <pc:sldChg chg="del">
        <pc:chgData name="STEPANCHENKO, D. (Dmitrii)" userId="30c9d29d-ac41-46ff-b2be-c3f5dd1e26e1" providerId="ADAL" clId="{6AAC7FF4-A7AB-4DB2-AAE2-E1C397793EF0}" dt="2022-12-14T17:10:54.475" v="253" actId="47"/>
        <pc:sldMkLst>
          <pc:docMk/>
          <pc:sldMk cId="2729030925" sldId="2134806298"/>
        </pc:sldMkLst>
      </pc:sldChg>
      <pc:sldChg chg="modSp mod">
        <pc:chgData name="STEPANCHENKO, D. (Dmitrii)" userId="30c9d29d-ac41-46ff-b2be-c3f5dd1e26e1" providerId="ADAL" clId="{6AAC7FF4-A7AB-4DB2-AAE2-E1C397793EF0}" dt="2022-12-14T15:17:44.901" v="1" actId="1076"/>
        <pc:sldMkLst>
          <pc:docMk/>
          <pc:sldMk cId="1455295070" sldId="2134806318"/>
        </pc:sldMkLst>
        <pc:picChg chg="mod">
          <ac:chgData name="STEPANCHENKO, D. (Dmitrii)" userId="30c9d29d-ac41-46ff-b2be-c3f5dd1e26e1" providerId="ADAL" clId="{6AAC7FF4-A7AB-4DB2-AAE2-E1C397793EF0}" dt="2022-12-14T15:17:44.901" v="1" actId="1076"/>
          <ac:picMkLst>
            <pc:docMk/>
            <pc:sldMk cId="1455295070" sldId="2134806318"/>
            <ac:picMk id="9" creationId="{C3A39222-90C1-4ECB-75D5-5E782010CDE5}"/>
          </ac:picMkLst>
        </pc:picChg>
      </pc:sldChg>
      <pc:sldChg chg="delSp modSp mod">
        <pc:chgData name="STEPANCHENKO, D. (Dmitrii)" userId="30c9d29d-ac41-46ff-b2be-c3f5dd1e26e1" providerId="ADAL" clId="{6AAC7FF4-A7AB-4DB2-AAE2-E1C397793EF0}" dt="2022-12-14T17:11:28.404" v="256" actId="478"/>
        <pc:sldMkLst>
          <pc:docMk/>
          <pc:sldMk cId="4070705944" sldId="2134806325"/>
        </pc:sldMkLst>
        <pc:spChg chg="del mod">
          <ac:chgData name="STEPANCHENKO, D. (Dmitrii)" userId="30c9d29d-ac41-46ff-b2be-c3f5dd1e26e1" providerId="ADAL" clId="{6AAC7FF4-A7AB-4DB2-AAE2-E1C397793EF0}" dt="2022-12-14T17:11:28.404" v="256" actId="478"/>
          <ac:spMkLst>
            <pc:docMk/>
            <pc:sldMk cId="4070705944" sldId="2134806325"/>
            <ac:spMk id="6" creationId="{55DC015C-12FE-A55C-DF36-68759984506F}"/>
          </ac:spMkLst>
        </pc:spChg>
      </pc:sldChg>
      <pc:sldChg chg="add">
        <pc:chgData name="STEPANCHENKO, D. (Dmitrii)" userId="30c9d29d-ac41-46ff-b2be-c3f5dd1e26e1" providerId="ADAL" clId="{6AAC7FF4-A7AB-4DB2-AAE2-E1C397793EF0}" dt="2022-12-14T17:10:52.883" v="252"/>
        <pc:sldMkLst>
          <pc:docMk/>
          <pc:sldMk cId="521703837" sldId="2134806326"/>
        </pc:sldMkLst>
      </pc:sldChg>
    </pc:docChg>
  </pc:docChgLst>
  <pc:docChgLst>
    <pc:chgData name="STEPANCHENKO, D. (Dmitrii)" userId="30c9d29d-ac41-46ff-b2be-c3f5dd1e26e1" providerId="ADAL" clId="{B3A474F3-5485-4A93-8981-1E68ACC9F057}"/>
    <pc:docChg chg="undo redo custSel addSld delSld modSld sldOrd modSection">
      <pc:chgData name="STEPANCHENKO, D. (Dmitrii)" userId="30c9d29d-ac41-46ff-b2be-c3f5dd1e26e1" providerId="ADAL" clId="{B3A474F3-5485-4A93-8981-1E68ACC9F057}" dt="2023-03-05T09:38:16.361" v="10161" actId="20577"/>
      <pc:docMkLst>
        <pc:docMk/>
      </pc:docMkLst>
      <pc:sldChg chg="addSp delSp modSp mod modAnim">
        <pc:chgData name="STEPANCHENKO, D. (Dmitrii)" userId="30c9d29d-ac41-46ff-b2be-c3f5dd1e26e1" providerId="ADAL" clId="{B3A474F3-5485-4A93-8981-1E68ACC9F057}" dt="2023-02-05T08:24:05.215" v="6837" actId="207"/>
        <pc:sldMkLst>
          <pc:docMk/>
          <pc:sldMk cId="4146022198" sldId="2134806269"/>
        </pc:sldMkLst>
        <pc:spChg chg="mod">
          <ac:chgData name="STEPANCHENKO, D. (Dmitrii)" userId="30c9d29d-ac41-46ff-b2be-c3f5dd1e26e1" providerId="ADAL" clId="{B3A474F3-5485-4A93-8981-1E68ACC9F057}" dt="2023-02-05T08:22:29.692" v="6785" actId="14100"/>
          <ac:spMkLst>
            <pc:docMk/>
            <pc:sldMk cId="4146022198" sldId="2134806269"/>
            <ac:spMk id="4" creationId="{E704B17B-2B24-A94D-BEEB-3665EC84CBC2}"/>
          </ac:spMkLst>
        </pc:spChg>
        <pc:spChg chg="add del mod">
          <ac:chgData name="STEPANCHENKO, D. (Dmitrii)" userId="30c9d29d-ac41-46ff-b2be-c3f5dd1e26e1" providerId="ADAL" clId="{B3A474F3-5485-4A93-8981-1E68ACC9F057}" dt="2023-02-05T08:24:05.215" v="6837" actId="207"/>
          <ac:spMkLst>
            <pc:docMk/>
            <pc:sldMk cId="4146022198" sldId="2134806269"/>
            <ac:spMk id="7" creationId="{62918792-EAC4-5F14-CC7D-8D916E348FD3}"/>
          </ac:spMkLst>
        </pc:spChg>
        <pc:spChg chg="add mod">
          <ac:chgData name="STEPANCHENKO, D. (Dmitrii)" userId="30c9d29d-ac41-46ff-b2be-c3f5dd1e26e1" providerId="ADAL" clId="{B3A474F3-5485-4A93-8981-1E68ACC9F057}" dt="2023-02-05T08:22:46.962" v="6806" actId="208"/>
          <ac:spMkLst>
            <pc:docMk/>
            <pc:sldMk cId="4146022198" sldId="2134806269"/>
            <ac:spMk id="9" creationId="{968CB89E-20B5-4BBC-BA46-1FE880EA4105}"/>
          </ac:spMkLst>
        </pc:spChg>
        <pc:spChg chg="add mod">
          <ac:chgData name="STEPANCHENKO, D. (Dmitrii)" userId="30c9d29d-ac41-46ff-b2be-c3f5dd1e26e1" providerId="ADAL" clId="{B3A474F3-5485-4A93-8981-1E68ACC9F057}" dt="2023-02-05T08:23:04.143" v="6809" actId="14100"/>
          <ac:spMkLst>
            <pc:docMk/>
            <pc:sldMk cId="4146022198" sldId="2134806269"/>
            <ac:spMk id="10" creationId="{4869BF0D-F006-5AE4-794D-9139713FBEC1}"/>
          </ac:spMkLst>
        </pc:spChg>
        <pc:spChg chg="add mod">
          <ac:chgData name="STEPANCHENKO, D. (Dmitrii)" userId="30c9d29d-ac41-46ff-b2be-c3f5dd1e26e1" providerId="ADAL" clId="{B3A474F3-5485-4A93-8981-1E68ACC9F057}" dt="2023-02-05T08:24:01.886" v="6836" actId="207"/>
          <ac:spMkLst>
            <pc:docMk/>
            <pc:sldMk cId="4146022198" sldId="2134806269"/>
            <ac:spMk id="11" creationId="{28C1EB04-4739-1CAB-75E8-2DAFBE8FCDFF}"/>
          </ac:spMkLst>
        </pc:spChg>
      </pc:sldChg>
      <pc:sldChg chg="modSp mod">
        <pc:chgData name="STEPANCHENKO, D. (Dmitrii)" userId="30c9d29d-ac41-46ff-b2be-c3f5dd1e26e1" providerId="ADAL" clId="{B3A474F3-5485-4A93-8981-1E68ACC9F057}" dt="2023-02-25T08:50:33.154" v="9557"/>
        <pc:sldMkLst>
          <pc:docMk/>
          <pc:sldMk cId="3806807723" sldId="2134806271"/>
        </pc:sldMkLst>
        <pc:graphicFrameChg chg="mod modGraphic">
          <ac:chgData name="STEPANCHENKO, D. (Dmitrii)" userId="30c9d29d-ac41-46ff-b2be-c3f5dd1e26e1" providerId="ADAL" clId="{B3A474F3-5485-4A93-8981-1E68ACC9F057}" dt="2023-02-25T08:50:33.154" v="9557"/>
          <ac:graphicFrameMkLst>
            <pc:docMk/>
            <pc:sldMk cId="3806807723" sldId="2134806271"/>
            <ac:graphicFrameMk id="4" creationId="{4FA4670E-7F8F-F66C-8A96-9C378A643C68}"/>
          </ac:graphicFrameMkLst>
        </pc:graphicFrameChg>
      </pc:sldChg>
      <pc:sldChg chg="addSp delSp modSp mod modAnim">
        <pc:chgData name="STEPANCHENKO, D. (Dmitrii)" userId="30c9d29d-ac41-46ff-b2be-c3f5dd1e26e1" providerId="ADAL" clId="{B3A474F3-5485-4A93-8981-1E68ACC9F057}" dt="2023-02-26T09:32:12.525" v="9666" actId="14100"/>
        <pc:sldMkLst>
          <pc:docMk/>
          <pc:sldMk cId="2322687294" sldId="2134806289"/>
        </pc:sldMkLst>
        <pc:spChg chg="mod">
          <ac:chgData name="STEPANCHENKO, D. (Dmitrii)" userId="30c9d29d-ac41-46ff-b2be-c3f5dd1e26e1" providerId="ADAL" clId="{B3A474F3-5485-4A93-8981-1E68ACC9F057}" dt="2023-02-26T09:32:07.810" v="9665" actId="1036"/>
          <ac:spMkLst>
            <pc:docMk/>
            <pc:sldMk cId="2322687294" sldId="2134806289"/>
            <ac:spMk id="4" creationId="{FABF48EB-F5DD-73B7-0214-661762AC84D0}"/>
          </ac:spMkLst>
        </pc:spChg>
        <pc:spChg chg="mod">
          <ac:chgData name="STEPANCHENKO, D. (Dmitrii)" userId="30c9d29d-ac41-46ff-b2be-c3f5dd1e26e1" providerId="ADAL" clId="{B3A474F3-5485-4A93-8981-1E68ACC9F057}" dt="2023-02-18T08:29:48.218" v="9380" actId="20577"/>
          <ac:spMkLst>
            <pc:docMk/>
            <pc:sldMk cId="2322687294" sldId="2134806289"/>
            <ac:spMk id="6" creationId="{7304A516-7872-1BDB-C272-35B46237BDC5}"/>
          </ac:spMkLst>
        </pc:spChg>
        <pc:spChg chg="mod">
          <ac:chgData name="STEPANCHENKO, D. (Dmitrii)" userId="30c9d29d-ac41-46ff-b2be-c3f5dd1e26e1" providerId="ADAL" clId="{B3A474F3-5485-4A93-8981-1E68ACC9F057}" dt="2023-02-17T08:04:53.463" v="8923" actId="1036"/>
          <ac:spMkLst>
            <pc:docMk/>
            <pc:sldMk cId="2322687294" sldId="2134806289"/>
            <ac:spMk id="9" creationId="{17E51F88-4398-76C0-3DF9-8503C88BEBE1}"/>
          </ac:spMkLst>
        </pc:spChg>
        <pc:graphicFrameChg chg="mod">
          <ac:chgData name="STEPANCHENKO, D. (Dmitrii)" userId="30c9d29d-ac41-46ff-b2be-c3f5dd1e26e1" providerId="ADAL" clId="{B3A474F3-5485-4A93-8981-1E68ACC9F057}" dt="2023-02-26T09:32:12.525" v="9666" actId="14100"/>
          <ac:graphicFrameMkLst>
            <pc:docMk/>
            <pc:sldMk cId="2322687294" sldId="2134806289"/>
            <ac:graphicFrameMk id="3" creationId="{A12E7895-C2CC-4F97-8797-1EDFDB6BAB8A}"/>
          </ac:graphicFrameMkLst>
        </pc:graphicFrameChg>
        <pc:graphicFrameChg chg="mod">
          <ac:chgData name="STEPANCHENKO, D. (Dmitrii)" userId="30c9d29d-ac41-46ff-b2be-c3f5dd1e26e1" providerId="ADAL" clId="{B3A474F3-5485-4A93-8981-1E68ACC9F057}" dt="2023-02-26T09:32:12.525" v="9666" actId="14100"/>
          <ac:graphicFrameMkLst>
            <pc:docMk/>
            <pc:sldMk cId="2322687294" sldId="2134806289"/>
            <ac:graphicFrameMk id="8" creationId="{1A4ACF02-C0D9-4956-8284-1CE9DD6E2608}"/>
          </ac:graphicFrameMkLst>
        </pc:graphicFrameChg>
        <pc:picChg chg="add mod">
          <ac:chgData name="STEPANCHENKO, D. (Dmitrii)" userId="30c9d29d-ac41-46ff-b2be-c3f5dd1e26e1" providerId="ADAL" clId="{B3A474F3-5485-4A93-8981-1E68ACC9F057}" dt="2023-02-18T08:29:51.317" v="9381" actId="1076"/>
          <ac:picMkLst>
            <pc:docMk/>
            <pc:sldMk cId="2322687294" sldId="2134806289"/>
            <ac:picMk id="11" creationId="{9279D2BE-9154-94D6-EBFA-94DF5710182F}"/>
          </ac:picMkLst>
        </pc:picChg>
        <pc:picChg chg="add del">
          <ac:chgData name="STEPANCHENKO, D. (Dmitrii)" userId="30c9d29d-ac41-46ff-b2be-c3f5dd1e26e1" providerId="ADAL" clId="{B3A474F3-5485-4A93-8981-1E68ACC9F057}" dt="2023-02-17T08:06:01.248" v="8949" actId="22"/>
          <ac:picMkLst>
            <pc:docMk/>
            <pc:sldMk cId="2322687294" sldId="2134806289"/>
            <ac:picMk id="13" creationId="{7BF0EB60-5578-60E9-9F31-7B6E4671EA1C}"/>
          </ac:picMkLst>
        </pc:picChg>
      </pc:sldChg>
      <pc:sldChg chg="modSp mod ord">
        <pc:chgData name="STEPANCHENKO, D. (Dmitrii)" userId="30c9d29d-ac41-46ff-b2be-c3f5dd1e26e1" providerId="ADAL" clId="{B3A474F3-5485-4A93-8981-1E68ACC9F057}" dt="2023-02-04T09:10:11.194" v="5665" actId="20577"/>
        <pc:sldMkLst>
          <pc:docMk/>
          <pc:sldMk cId="1987294738" sldId="2134806293"/>
        </pc:sldMkLst>
        <pc:spChg chg="mod">
          <ac:chgData name="STEPANCHENKO, D. (Dmitrii)" userId="30c9d29d-ac41-46ff-b2be-c3f5dd1e26e1" providerId="ADAL" clId="{B3A474F3-5485-4A93-8981-1E68ACC9F057}" dt="2023-02-04T09:10:11.194" v="5665" actId="20577"/>
          <ac:spMkLst>
            <pc:docMk/>
            <pc:sldMk cId="1987294738" sldId="2134806293"/>
            <ac:spMk id="5" creationId="{81BD1123-3626-1C45-BF5B-1C1864FA8AFA}"/>
          </ac:spMkLst>
        </pc:spChg>
        <pc:spChg chg="mod">
          <ac:chgData name="STEPANCHENKO, D. (Dmitrii)" userId="30c9d29d-ac41-46ff-b2be-c3f5dd1e26e1" providerId="ADAL" clId="{B3A474F3-5485-4A93-8981-1E68ACC9F057}" dt="2023-02-04T07:31:11.985" v="5509" actId="1035"/>
          <ac:spMkLst>
            <pc:docMk/>
            <pc:sldMk cId="1987294738" sldId="2134806293"/>
            <ac:spMk id="11" creationId="{4A89C080-E02A-4114-9A18-64ED1A28D56E}"/>
          </ac:spMkLst>
        </pc:spChg>
      </pc:sldChg>
      <pc:sldChg chg="modSp mod">
        <pc:chgData name="STEPANCHENKO, D. (Dmitrii)" userId="30c9d29d-ac41-46ff-b2be-c3f5dd1e26e1" providerId="ADAL" clId="{B3A474F3-5485-4A93-8981-1E68ACC9F057}" dt="2023-02-11T08:23:33.136" v="8581" actId="1076"/>
        <pc:sldMkLst>
          <pc:docMk/>
          <pc:sldMk cId="1455295070" sldId="2134806318"/>
        </pc:sldMkLst>
        <pc:spChg chg="mod">
          <ac:chgData name="STEPANCHENKO, D. (Dmitrii)" userId="30c9d29d-ac41-46ff-b2be-c3f5dd1e26e1" providerId="ADAL" clId="{B3A474F3-5485-4A93-8981-1E68ACC9F057}" dt="2023-02-11T08:23:33.136" v="8581" actId="1076"/>
          <ac:spMkLst>
            <pc:docMk/>
            <pc:sldMk cId="1455295070" sldId="2134806318"/>
            <ac:spMk id="5" creationId="{81BD1123-3626-1C45-BF5B-1C1864FA8AFA}"/>
          </ac:spMkLst>
        </pc:spChg>
      </pc:sldChg>
      <pc:sldChg chg="ord">
        <pc:chgData name="STEPANCHENKO, D. (Dmitrii)" userId="30c9d29d-ac41-46ff-b2be-c3f5dd1e26e1" providerId="ADAL" clId="{B3A474F3-5485-4A93-8981-1E68ACC9F057}" dt="2023-02-26T09:30:01.467" v="9643"/>
        <pc:sldMkLst>
          <pc:docMk/>
          <pc:sldMk cId="328194484" sldId="2134806320"/>
        </pc:sldMkLst>
      </pc:sldChg>
      <pc:sldChg chg="modSp mod ord">
        <pc:chgData name="STEPANCHENKO, D. (Dmitrii)" userId="30c9d29d-ac41-46ff-b2be-c3f5dd1e26e1" providerId="ADAL" clId="{B3A474F3-5485-4A93-8981-1E68ACC9F057}" dt="2023-02-26T09:29:42.555" v="9641" actId="20577"/>
        <pc:sldMkLst>
          <pc:docMk/>
          <pc:sldMk cId="931874431" sldId="2134806321"/>
        </pc:sldMkLst>
        <pc:spChg chg="mod">
          <ac:chgData name="STEPANCHENKO, D. (Dmitrii)" userId="30c9d29d-ac41-46ff-b2be-c3f5dd1e26e1" providerId="ADAL" clId="{B3A474F3-5485-4A93-8981-1E68ACC9F057}" dt="2023-02-26T09:20:57.996" v="9608" actId="20577"/>
          <ac:spMkLst>
            <pc:docMk/>
            <pc:sldMk cId="931874431" sldId="2134806321"/>
            <ac:spMk id="5" creationId="{81BD1123-3626-1C45-BF5B-1C1864FA8AFA}"/>
          </ac:spMkLst>
        </pc:spChg>
        <pc:spChg chg="mod">
          <ac:chgData name="STEPANCHENKO, D. (Dmitrii)" userId="30c9d29d-ac41-46ff-b2be-c3f5dd1e26e1" providerId="ADAL" clId="{B3A474F3-5485-4A93-8981-1E68ACC9F057}" dt="2023-02-11T08:34:24.063" v="8595" actId="1036"/>
          <ac:spMkLst>
            <pc:docMk/>
            <pc:sldMk cId="931874431" sldId="2134806321"/>
            <ac:spMk id="6" creationId="{AE0CF21A-7EEC-2647-7CE1-4307193910B5}"/>
          </ac:spMkLst>
        </pc:spChg>
        <pc:spChg chg="mod">
          <ac:chgData name="STEPANCHENKO, D. (Dmitrii)" userId="30c9d29d-ac41-46ff-b2be-c3f5dd1e26e1" providerId="ADAL" clId="{B3A474F3-5485-4A93-8981-1E68ACC9F057}" dt="2023-02-25T08:34:23.446" v="9556" actId="1036"/>
          <ac:spMkLst>
            <pc:docMk/>
            <pc:sldMk cId="931874431" sldId="2134806321"/>
            <ac:spMk id="8" creationId="{EF3AA727-580F-928C-D91B-08CCC90BB46B}"/>
          </ac:spMkLst>
        </pc:spChg>
        <pc:spChg chg="mod">
          <ac:chgData name="STEPANCHENKO, D. (Dmitrii)" userId="30c9d29d-ac41-46ff-b2be-c3f5dd1e26e1" providerId="ADAL" clId="{B3A474F3-5485-4A93-8981-1E68ACC9F057}" dt="2023-02-13T17:47:33.175" v="8720" actId="1035"/>
          <ac:spMkLst>
            <pc:docMk/>
            <pc:sldMk cId="931874431" sldId="2134806321"/>
            <ac:spMk id="17" creationId="{BD69FFC3-98E2-981F-8355-D6A1F4013CC8}"/>
          </ac:spMkLst>
        </pc:spChg>
        <pc:spChg chg="mod">
          <ac:chgData name="STEPANCHENKO, D. (Dmitrii)" userId="30c9d29d-ac41-46ff-b2be-c3f5dd1e26e1" providerId="ADAL" clId="{B3A474F3-5485-4A93-8981-1E68ACC9F057}" dt="2023-02-26T09:29:42.555" v="9641" actId="20577"/>
          <ac:spMkLst>
            <pc:docMk/>
            <pc:sldMk cId="931874431" sldId="2134806321"/>
            <ac:spMk id="28" creationId="{680C9532-9059-68DF-88F9-42B190D45C92}"/>
          </ac:spMkLst>
        </pc:spChg>
      </pc:sldChg>
      <pc:sldChg chg="modSp mod ord">
        <pc:chgData name="STEPANCHENKO, D. (Dmitrii)" userId="30c9d29d-ac41-46ff-b2be-c3f5dd1e26e1" providerId="ADAL" clId="{B3A474F3-5485-4A93-8981-1E68ACC9F057}" dt="2023-02-26T09:20:50.348" v="9604" actId="20577"/>
        <pc:sldMkLst>
          <pc:docMk/>
          <pc:sldMk cId="2685767378" sldId="2134806323"/>
        </pc:sldMkLst>
        <pc:spChg chg="mod">
          <ac:chgData name="STEPANCHENKO, D. (Dmitrii)" userId="30c9d29d-ac41-46ff-b2be-c3f5dd1e26e1" providerId="ADAL" clId="{B3A474F3-5485-4A93-8981-1E68ACC9F057}" dt="2023-02-26T09:20:50.348" v="9604" actId="20577"/>
          <ac:spMkLst>
            <pc:docMk/>
            <pc:sldMk cId="2685767378" sldId="2134806323"/>
            <ac:spMk id="5" creationId="{81BD1123-3626-1C45-BF5B-1C1864FA8AFA}"/>
          </ac:spMkLst>
        </pc:spChg>
      </pc:sldChg>
      <pc:sldChg chg="modSp mod">
        <pc:chgData name="STEPANCHENKO, D. (Dmitrii)" userId="30c9d29d-ac41-46ff-b2be-c3f5dd1e26e1" providerId="ADAL" clId="{B3A474F3-5485-4A93-8981-1E68ACC9F057}" dt="2023-02-17T08:08:44.552" v="9028" actId="20577"/>
        <pc:sldMkLst>
          <pc:docMk/>
          <pc:sldMk cId="1383993538" sldId="2134806327"/>
        </pc:sldMkLst>
        <pc:spChg chg="mod">
          <ac:chgData name="STEPANCHENKO, D. (Dmitrii)" userId="30c9d29d-ac41-46ff-b2be-c3f5dd1e26e1" providerId="ADAL" clId="{B3A474F3-5485-4A93-8981-1E68ACC9F057}" dt="2023-02-17T08:08:44.552" v="9028" actId="20577"/>
          <ac:spMkLst>
            <pc:docMk/>
            <pc:sldMk cId="1383993538" sldId="2134806327"/>
            <ac:spMk id="5" creationId="{81BD1123-3626-1C45-BF5B-1C1864FA8AFA}"/>
          </ac:spMkLst>
        </pc:spChg>
      </pc:sldChg>
      <pc:sldChg chg="addSp modSp mod">
        <pc:chgData name="STEPANCHENKO, D. (Dmitrii)" userId="30c9d29d-ac41-46ff-b2be-c3f5dd1e26e1" providerId="ADAL" clId="{B3A474F3-5485-4A93-8981-1E68ACC9F057}" dt="2023-02-05T10:41:23.544" v="7333" actId="13926"/>
        <pc:sldMkLst>
          <pc:docMk/>
          <pc:sldMk cId="3274818839" sldId="2134806329"/>
        </pc:sldMkLst>
        <pc:spChg chg="add mod">
          <ac:chgData name="STEPANCHENKO, D. (Dmitrii)" userId="30c9d29d-ac41-46ff-b2be-c3f5dd1e26e1" providerId="ADAL" clId="{B3A474F3-5485-4A93-8981-1E68ACC9F057}" dt="2023-02-04T09:03:15.649" v="5659" actId="1035"/>
          <ac:spMkLst>
            <pc:docMk/>
            <pc:sldMk cId="3274818839" sldId="2134806329"/>
            <ac:spMk id="3" creationId="{259C6787-EEAB-99FE-A5A1-045652EF1AC3}"/>
          </ac:spMkLst>
        </pc:spChg>
        <pc:spChg chg="mod">
          <ac:chgData name="STEPANCHENKO, D. (Dmitrii)" userId="30c9d29d-ac41-46ff-b2be-c3f5dd1e26e1" providerId="ADAL" clId="{B3A474F3-5485-4A93-8981-1E68ACC9F057}" dt="2023-02-04T09:10:03.959" v="5663" actId="20577"/>
          <ac:spMkLst>
            <pc:docMk/>
            <pc:sldMk cId="3274818839" sldId="2134806329"/>
            <ac:spMk id="5" creationId="{81BD1123-3626-1C45-BF5B-1C1864FA8AFA}"/>
          </ac:spMkLst>
        </pc:spChg>
        <pc:spChg chg="mod">
          <ac:chgData name="STEPANCHENKO, D. (Dmitrii)" userId="30c9d29d-ac41-46ff-b2be-c3f5dd1e26e1" providerId="ADAL" clId="{B3A474F3-5485-4A93-8981-1E68ACC9F057}" dt="2023-02-05T10:41:23.544" v="7333" actId="13926"/>
          <ac:spMkLst>
            <pc:docMk/>
            <pc:sldMk cId="3274818839" sldId="2134806329"/>
            <ac:spMk id="7" creationId="{05E61C94-C306-46A7-941B-5C78E82C67F8}"/>
          </ac:spMkLst>
        </pc:spChg>
        <pc:spChg chg="mod">
          <ac:chgData name="STEPANCHENKO, D. (Dmitrii)" userId="30c9d29d-ac41-46ff-b2be-c3f5dd1e26e1" providerId="ADAL" clId="{B3A474F3-5485-4A93-8981-1E68ACC9F057}" dt="2023-02-05T10:41:21.276" v="7332" actId="13926"/>
          <ac:spMkLst>
            <pc:docMk/>
            <pc:sldMk cId="3274818839" sldId="2134806329"/>
            <ac:spMk id="8" creationId="{02AC0575-0834-48E1-901C-A185C8F7BA93}"/>
          </ac:spMkLst>
        </pc:spChg>
      </pc:sldChg>
      <pc:sldChg chg="addSp delSp modSp mod addAnim delAnim modAnim">
        <pc:chgData name="STEPANCHENKO, D. (Dmitrii)" userId="30c9d29d-ac41-46ff-b2be-c3f5dd1e26e1" providerId="ADAL" clId="{B3A474F3-5485-4A93-8981-1E68ACC9F057}" dt="2023-02-18T09:13:41.046" v="9412" actId="1076"/>
        <pc:sldMkLst>
          <pc:docMk/>
          <pc:sldMk cId="3444687285" sldId="2134806333"/>
        </pc:sldMkLst>
        <pc:spChg chg="mod">
          <ac:chgData name="STEPANCHENKO, D. (Dmitrii)" userId="30c9d29d-ac41-46ff-b2be-c3f5dd1e26e1" providerId="ADAL" clId="{B3A474F3-5485-4A93-8981-1E68ACC9F057}" dt="2023-02-18T09:13:41.046" v="9412" actId="1076"/>
          <ac:spMkLst>
            <pc:docMk/>
            <pc:sldMk cId="3444687285" sldId="2134806333"/>
            <ac:spMk id="9" creationId="{CD23FEE6-2745-44DB-94A1-F55B9A5050DE}"/>
          </ac:spMkLst>
        </pc:spChg>
        <pc:spChg chg="mod">
          <ac:chgData name="STEPANCHENKO, D. (Dmitrii)" userId="30c9d29d-ac41-46ff-b2be-c3f5dd1e26e1" providerId="ADAL" clId="{B3A474F3-5485-4A93-8981-1E68ACC9F057}" dt="2023-02-18T09:13:41.046" v="9412" actId="1076"/>
          <ac:spMkLst>
            <pc:docMk/>
            <pc:sldMk cId="3444687285" sldId="2134806333"/>
            <ac:spMk id="12" creationId="{A833CA0B-9813-40A3-9F29-B963474ED863}"/>
          </ac:spMkLst>
        </pc:spChg>
        <pc:spChg chg="mod">
          <ac:chgData name="STEPANCHENKO, D. (Dmitrii)" userId="30c9d29d-ac41-46ff-b2be-c3f5dd1e26e1" providerId="ADAL" clId="{B3A474F3-5485-4A93-8981-1E68ACC9F057}" dt="2023-02-17T09:33:26.565" v="9325" actId="20577"/>
          <ac:spMkLst>
            <pc:docMk/>
            <pc:sldMk cId="3444687285" sldId="2134806333"/>
            <ac:spMk id="13" creationId="{C59E1761-1832-4C8A-AEEC-6EBF698037A1}"/>
          </ac:spMkLst>
        </pc:spChg>
        <pc:graphicFrameChg chg="mod">
          <ac:chgData name="STEPANCHENKO, D. (Dmitrii)" userId="30c9d29d-ac41-46ff-b2be-c3f5dd1e26e1" providerId="ADAL" clId="{B3A474F3-5485-4A93-8981-1E68ACC9F057}" dt="2023-02-18T09:13:41.046" v="9412" actId="1076"/>
          <ac:graphicFrameMkLst>
            <pc:docMk/>
            <pc:sldMk cId="3444687285" sldId="2134806333"/>
            <ac:graphicFrameMk id="19" creationId="{AA77DF82-B2FB-4D0B-8779-BCEA943C88B2}"/>
          </ac:graphicFrameMkLst>
        </pc:graphicFrameChg>
        <pc:picChg chg="add del mod">
          <ac:chgData name="STEPANCHENKO, D. (Dmitrii)" userId="30c9d29d-ac41-46ff-b2be-c3f5dd1e26e1" providerId="ADAL" clId="{B3A474F3-5485-4A93-8981-1E68ACC9F057}" dt="2023-02-17T09:48:38.051" v="9342" actId="478"/>
          <ac:picMkLst>
            <pc:docMk/>
            <pc:sldMk cId="3444687285" sldId="2134806333"/>
            <ac:picMk id="20" creationId="{9D55DA0E-76E7-4354-9CE5-36B7E462E1CC}"/>
          </ac:picMkLst>
        </pc:picChg>
      </pc:sldChg>
      <pc:sldChg chg="modSp mod">
        <pc:chgData name="STEPANCHENKO, D. (Dmitrii)" userId="30c9d29d-ac41-46ff-b2be-c3f5dd1e26e1" providerId="ADAL" clId="{B3A474F3-5485-4A93-8981-1E68ACC9F057}" dt="2023-02-17T08:14:49.032" v="9187" actId="1036"/>
        <pc:sldMkLst>
          <pc:docMk/>
          <pc:sldMk cId="3608721573" sldId="2134806334"/>
        </pc:sldMkLst>
        <pc:spChg chg="mod">
          <ac:chgData name="STEPANCHENKO, D. (Dmitrii)" userId="30c9d29d-ac41-46ff-b2be-c3f5dd1e26e1" providerId="ADAL" clId="{B3A474F3-5485-4A93-8981-1E68ACC9F057}" dt="2023-02-17T08:14:49.032" v="9187" actId="1036"/>
          <ac:spMkLst>
            <pc:docMk/>
            <pc:sldMk cId="3608721573" sldId="2134806334"/>
            <ac:spMk id="12" creationId="{0752E6A3-4425-48A0-9570-33BE5F54B45C}"/>
          </ac:spMkLst>
        </pc:spChg>
        <pc:spChg chg="mod">
          <ac:chgData name="STEPANCHENKO, D. (Dmitrii)" userId="30c9d29d-ac41-46ff-b2be-c3f5dd1e26e1" providerId="ADAL" clId="{B3A474F3-5485-4A93-8981-1E68ACC9F057}" dt="2023-02-17T08:13:14.933" v="9174" actId="1037"/>
          <ac:spMkLst>
            <pc:docMk/>
            <pc:sldMk cId="3608721573" sldId="2134806334"/>
            <ac:spMk id="13" creationId="{9AD3A892-2754-4EB3-A4DA-CB0772BFAF88}"/>
          </ac:spMkLst>
        </pc:spChg>
        <pc:spChg chg="mod">
          <ac:chgData name="STEPANCHENKO, D. (Dmitrii)" userId="30c9d29d-ac41-46ff-b2be-c3f5dd1e26e1" providerId="ADAL" clId="{B3A474F3-5485-4A93-8981-1E68ACC9F057}" dt="2023-02-17T08:13:14.933" v="9174" actId="1037"/>
          <ac:spMkLst>
            <pc:docMk/>
            <pc:sldMk cId="3608721573" sldId="2134806334"/>
            <ac:spMk id="14" creationId="{8774A0F6-E177-49B2-90C1-41ECDC52A906}"/>
          </ac:spMkLst>
        </pc:spChg>
      </pc:sldChg>
      <pc:sldChg chg="modSp mod">
        <pc:chgData name="STEPANCHENKO, D. (Dmitrii)" userId="30c9d29d-ac41-46ff-b2be-c3f5dd1e26e1" providerId="ADAL" clId="{B3A474F3-5485-4A93-8981-1E68ACC9F057}" dt="2023-02-04T08:06:12.006" v="5642" actId="14100"/>
        <pc:sldMkLst>
          <pc:docMk/>
          <pc:sldMk cId="3429197109" sldId="2134806335"/>
        </pc:sldMkLst>
        <pc:graphicFrameChg chg="modGraphic">
          <ac:chgData name="STEPANCHENKO, D. (Dmitrii)" userId="30c9d29d-ac41-46ff-b2be-c3f5dd1e26e1" providerId="ADAL" clId="{B3A474F3-5485-4A93-8981-1E68ACC9F057}" dt="2023-02-04T08:06:12.006" v="5642" actId="14100"/>
          <ac:graphicFrameMkLst>
            <pc:docMk/>
            <pc:sldMk cId="3429197109" sldId="2134806335"/>
            <ac:graphicFrameMk id="3" creationId="{3FB1392B-9DAC-40D6-AF12-16AF88B26518}"/>
          </ac:graphicFrameMkLst>
        </pc:graphicFrameChg>
      </pc:sldChg>
      <pc:sldChg chg="addSp delSp mod addAnim delAnim">
        <pc:chgData name="STEPANCHENKO, D. (Dmitrii)" userId="30c9d29d-ac41-46ff-b2be-c3f5dd1e26e1" providerId="ADAL" clId="{B3A474F3-5485-4A93-8981-1E68ACC9F057}" dt="2023-02-17T09:48:31.486" v="9340" actId="478"/>
        <pc:sldMkLst>
          <pc:docMk/>
          <pc:sldMk cId="1608794076" sldId="2134806336"/>
        </pc:sldMkLst>
        <pc:picChg chg="add del">
          <ac:chgData name="STEPANCHENKO, D. (Dmitrii)" userId="30c9d29d-ac41-46ff-b2be-c3f5dd1e26e1" providerId="ADAL" clId="{B3A474F3-5485-4A93-8981-1E68ACC9F057}" dt="2023-02-17T09:48:31.486" v="9340" actId="478"/>
          <ac:picMkLst>
            <pc:docMk/>
            <pc:sldMk cId="1608794076" sldId="2134806336"/>
            <ac:picMk id="8" creationId="{0FFAACA2-8C69-4ADF-A6B9-2B8050074E2D}"/>
          </ac:picMkLst>
        </pc:picChg>
      </pc:sldChg>
      <pc:sldChg chg="modSp mod">
        <pc:chgData name="STEPANCHENKO, D. (Dmitrii)" userId="30c9d29d-ac41-46ff-b2be-c3f5dd1e26e1" providerId="ADAL" clId="{B3A474F3-5485-4A93-8981-1E68ACC9F057}" dt="2023-02-18T08:24:35.052" v="9376" actId="20577"/>
        <pc:sldMkLst>
          <pc:docMk/>
          <pc:sldMk cId="3121307498" sldId="2134806348"/>
        </pc:sldMkLst>
        <pc:graphicFrameChg chg="mod modGraphic">
          <ac:chgData name="STEPANCHENKO, D. (Dmitrii)" userId="30c9d29d-ac41-46ff-b2be-c3f5dd1e26e1" providerId="ADAL" clId="{B3A474F3-5485-4A93-8981-1E68ACC9F057}" dt="2023-02-18T08:24:35.052" v="9376" actId="20577"/>
          <ac:graphicFrameMkLst>
            <pc:docMk/>
            <pc:sldMk cId="3121307498" sldId="2134806348"/>
            <ac:graphicFrameMk id="7" creationId="{6FF43420-5F97-4112-B0D3-FE928926660A}"/>
          </ac:graphicFrameMkLst>
        </pc:graphicFrameChg>
      </pc:sldChg>
      <pc:sldChg chg="modSp mod">
        <pc:chgData name="STEPANCHENKO, D. (Dmitrii)" userId="30c9d29d-ac41-46ff-b2be-c3f5dd1e26e1" providerId="ADAL" clId="{B3A474F3-5485-4A93-8981-1E68ACC9F057}" dt="2023-02-02T11:56:23.005" v="10" actId="14100"/>
        <pc:sldMkLst>
          <pc:docMk/>
          <pc:sldMk cId="360950131" sldId="2134806349"/>
        </pc:sldMkLst>
        <pc:spChg chg="mod">
          <ac:chgData name="STEPANCHENKO, D. (Dmitrii)" userId="30c9d29d-ac41-46ff-b2be-c3f5dd1e26e1" providerId="ADAL" clId="{B3A474F3-5485-4A93-8981-1E68ACC9F057}" dt="2023-02-02T11:56:09.709" v="4" actId="20577"/>
          <ac:spMkLst>
            <pc:docMk/>
            <pc:sldMk cId="360950131" sldId="2134806349"/>
            <ac:spMk id="10" creationId="{2254E375-2FB3-4511-9C58-9442856C2042}"/>
          </ac:spMkLst>
        </pc:spChg>
        <pc:spChg chg="mod">
          <ac:chgData name="STEPANCHENKO, D. (Dmitrii)" userId="30c9d29d-ac41-46ff-b2be-c3f5dd1e26e1" providerId="ADAL" clId="{B3A474F3-5485-4A93-8981-1E68ACC9F057}" dt="2023-02-02T11:56:23.005" v="10" actId="14100"/>
          <ac:spMkLst>
            <pc:docMk/>
            <pc:sldMk cId="360950131" sldId="2134806349"/>
            <ac:spMk id="15" creationId="{E6217700-48BD-4F57-ABEE-041604653B78}"/>
          </ac:spMkLst>
        </pc:spChg>
        <pc:cxnChg chg="mod">
          <ac:chgData name="STEPANCHENKO, D. (Dmitrii)" userId="30c9d29d-ac41-46ff-b2be-c3f5dd1e26e1" providerId="ADAL" clId="{B3A474F3-5485-4A93-8981-1E68ACC9F057}" dt="2023-02-02T11:56:23.005" v="10" actId="14100"/>
          <ac:cxnSpMkLst>
            <pc:docMk/>
            <pc:sldMk cId="360950131" sldId="2134806349"/>
            <ac:cxnSpMk id="17" creationId="{3EE0A07F-DE4D-4BE0-AC12-E01AFA9531B8}"/>
          </ac:cxnSpMkLst>
        </pc:cxnChg>
      </pc:sldChg>
      <pc:sldChg chg="modSp mod">
        <pc:chgData name="STEPANCHENKO, D. (Dmitrii)" userId="30c9d29d-ac41-46ff-b2be-c3f5dd1e26e1" providerId="ADAL" clId="{B3A474F3-5485-4A93-8981-1E68ACC9F057}" dt="2023-02-04T07:08:45.069" v="5464" actId="1035"/>
        <pc:sldMkLst>
          <pc:docMk/>
          <pc:sldMk cId="2759589870" sldId="2134806350"/>
        </pc:sldMkLst>
        <pc:spChg chg="mod">
          <ac:chgData name="STEPANCHENKO, D. (Dmitrii)" userId="30c9d29d-ac41-46ff-b2be-c3f5dd1e26e1" providerId="ADAL" clId="{B3A474F3-5485-4A93-8981-1E68ACC9F057}" dt="2023-02-04T07:08:45.069" v="5464" actId="1035"/>
          <ac:spMkLst>
            <pc:docMk/>
            <pc:sldMk cId="2759589870" sldId="2134806350"/>
            <ac:spMk id="24" creationId="{AC22F2D7-F662-4426-B19B-BE46B45582F9}"/>
          </ac:spMkLst>
        </pc:spChg>
      </pc:sldChg>
      <pc:sldChg chg="modSp mod">
        <pc:chgData name="STEPANCHENKO, D. (Dmitrii)" userId="30c9d29d-ac41-46ff-b2be-c3f5dd1e26e1" providerId="ADAL" clId="{B3A474F3-5485-4A93-8981-1E68ACC9F057}" dt="2023-02-25T07:13:19.693" v="9555" actId="1076"/>
        <pc:sldMkLst>
          <pc:docMk/>
          <pc:sldMk cId="853866529" sldId="2134806351"/>
        </pc:sldMkLst>
        <pc:spChg chg="mod">
          <ac:chgData name="STEPANCHENKO, D. (Dmitrii)" userId="30c9d29d-ac41-46ff-b2be-c3f5dd1e26e1" providerId="ADAL" clId="{B3A474F3-5485-4A93-8981-1E68ACC9F057}" dt="2023-02-25T07:11:30.828" v="9430" actId="20577"/>
          <ac:spMkLst>
            <pc:docMk/>
            <pc:sldMk cId="853866529" sldId="2134806351"/>
            <ac:spMk id="5" creationId="{81BD1123-3626-1C45-BF5B-1C1864FA8AFA}"/>
          </ac:spMkLst>
        </pc:spChg>
        <pc:spChg chg="mod">
          <ac:chgData name="STEPANCHENKO, D. (Dmitrii)" userId="30c9d29d-ac41-46ff-b2be-c3f5dd1e26e1" providerId="ADAL" clId="{B3A474F3-5485-4A93-8981-1E68ACC9F057}" dt="2023-02-25T07:12:57.212" v="9544" actId="20577"/>
          <ac:spMkLst>
            <pc:docMk/>
            <pc:sldMk cId="853866529" sldId="2134806351"/>
            <ac:spMk id="26" creationId="{EA1672C4-2CB1-4557-ACFE-942418292B7F}"/>
          </ac:spMkLst>
        </pc:spChg>
        <pc:spChg chg="mod">
          <ac:chgData name="STEPANCHENKO, D. (Dmitrii)" userId="30c9d29d-ac41-46ff-b2be-c3f5dd1e26e1" providerId="ADAL" clId="{B3A474F3-5485-4A93-8981-1E68ACC9F057}" dt="2023-02-25T07:13:16.885" v="9554" actId="20577"/>
          <ac:spMkLst>
            <pc:docMk/>
            <pc:sldMk cId="853866529" sldId="2134806351"/>
            <ac:spMk id="30" creationId="{1C945C46-2903-442B-AFE6-3BDCA1A34F65}"/>
          </ac:spMkLst>
        </pc:spChg>
        <pc:spChg chg="mod">
          <ac:chgData name="STEPANCHENKO, D. (Dmitrii)" userId="30c9d29d-ac41-46ff-b2be-c3f5dd1e26e1" providerId="ADAL" clId="{B3A474F3-5485-4A93-8981-1E68ACC9F057}" dt="2023-02-25T07:12:20.295" v="9529" actId="1037"/>
          <ac:spMkLst>
            <pc:docMk/>
            <pc:sldMk cId="853866529" sldId="2134806351"/>
            <ac:spMk id="31" creationId="{17D27AF9-8AE3-462C-849B-F22D1AF57A3C}"/>
          </ac:spMkLst>
        </pc:spChg>
        <pc:spChg chg="mod">
          <ac:chgData name="STEPANCHENKO, D. (Dmitrii)" userId="30c9d29d-ac41-46ff-b2be-c3f5dd1e26e1" providerId="ADAL" clId="{B3A474F3-5485-4A93-8981-1E68ACC9F057}" dt="2023-02-25T07:12:20.295" v="9529" actId="1037"/>
          <ac:spMkLst>
            <pc:docMk/>
            <pc:sldMk cId="853866529" sldId="2134806351"/>
            <ac:spMk id="32" creationId="{34966F64-340C-4DA4-8E69-1654537D6289}"/>
          </ac:spMkLst>
        </pc:spChg>
        <pc:spChg chg="mod">
          <ac:chgData name="STEPANCHENKO, D. (Dmitrii)" userId="30c9d29d-ac41-46ff-b2be-c3f5dd1e26e1" providerId="ADAL" clId="{B3A474F3-5485-4A93-8981-1E68ACC9F057}" dt="2023-02-25T07:12:20.295" v="9529" actId="1037"/>
          <ac:spMkLst>
            <pc:docMk/>
            <pc:sldMk cId="853866529" sldId="2134806351"/>
            <ac:spMk id="33" creationId="{5A9A2580-48AF-4A52-8037-DDDE8845D865}"/>
          </ac:spMkLst>
        </pc:spChg>
        <pc:picChg chg="mod">
          <ac:chgData name="STEPANCHENKO, D. (Dmitrii)" userId="30c9d29d-ac41-46ff-b2be-c3f5dd1e26e1" providerId="ADAL" clId="{B3A474F3-5485-4A93-8981-1E68ACC9F057}" dt="2023-02-25T07:13:19.693" v="9555" actId="1076"/>
          <ac:picMkLst>
            <pc:docMk/>
            <pc:sldMk cId="853866529" sldId="2134806351"/>
            <ac:picMk id="7" creationId="{4244002E-6BD0-4CEE-B5AC-E6318B205A4C}"/>
          </ac:picMkLst>
        </pc:picChg>
        <pc:cxnChg chg="mod">
          <ac:chgData name="STEPANCHENKO, D. (Dmitrii)" userId="30c9d29d-ac41-46ff-b2be-c3f5dd1e26e1" providerId="ADAL" clId="{B3A474F3-5485-4A93-8981-1E68ACC9F057}" dt="2023-02-25T07:12:20.295" v="9529" actId="1037"/>
          <ac:cxnSpMkLst>
            <pc:docMk/>
            <pc:sldMk cId="853866529" sldId="2134806351"/>
            <ac:cxnSpMk id="29" creationId="{E058FA45-4AA2-486C-B4A2-48DB749EC2FC}"/>
          </ac:cxnSpMkLst>
        </pc:cxnChg>
      </pc:sldChg>
      <pc:sldChg chg="addSp delSp modSp mod">
        <pc:chgData name="STEPANCHENKO, D. (Dmitrii)" userId="30c9d29d-ac41-46ff-b2be-c3f5dd1e26e1" providerId="ADAL" clId="{B3A474F3-5485-4A93-8981-1E68ACC9F057}" dt="2023-02-18T09:44:38.433" v="9413" actId="20577"/>
        <pc:sldMkLst>
          <pc:docMk/>
          <pc:sldMk cId="1653022067" sldId="2134806352"/>
        </pc:sldMkLst>
        <pc:spChg chg="add mod">
          <ac:chgData name="STEPANCHENKO, D. (Dmitrii)" userId="30c9d29d-ac41-46ff-b2be-c3f5dd1e26e1" providerId="ADAL" clId="{B3A474F3-5485-4A93-8981-1E68ACC9F057}" dt="2023-02-03T09:01:59.563" v="3279" actId="1076"/>
          <ac:spMkLst>
            <pc:docMk/>
            <pc:sldMk cId="1653022067" sldId="2134806352"/>
            <ac:spMk id="14" creationId="{15AB571A-82D2-776A-7FFF-74F0DFB71EE5}"/>
          </ac:spMkLst>
        </pc:spChg>
        <pc:graphicFrameChg chg="mod modGraphic">
          <ac:chgData name="STEPANCHENKO, D. (Dmitrii)" userId="30c9d29d-ac41-46ff-b2be-c3f5dd1e26e1" providerId="ADAL" clId="{B3A474F3-5485-4A93-8981-1E68ACC9F057}" dt="2023-02-18T09:44:38.433" v="9413" actId="20577"/>
          <ac:graphicFrameMkLst>
            <pc:docMk/>
            <pc:sldMk cId="1653022067" sldId="2134806352"/>
            <ac:graphicFrameMk id="27" creationId="{EF916E41-6838-46F8-88F0-E74262BAFA6C}"/>
          </ac:graphicFrameMkLst>
        </pc:graphicFrameChg>
        <pc:cxnChg chg="add del">
          <ac:chgData name="STEPANCHENKO, D. (Dmitrii)" userId="30c9d29d-ac41-46ff-b2be-c3f5dd1e26e1" providerId="ADAL" clId="{B3A474F3-5485-4A93-8981-1E68ACC9F057}" dt="2023-02-03T08:59:21.150" v="3030" actId="11529"/>
          <ac:cxnSpMkLst>
            <pc:docMk/>
            <pc:sldMk cId="1653022067" sldId="2134806352"/>
            <ac:cxnSpMk id="7" creationId="{9AF932C0-002E-A3A3-26B2-853460DC8316}"/>
          </ac:cxnSpMkLst>
        </pc:cxnChg>
        <pc:cxnChg chg="add mod">
          <ac:chgData name="STEPANCHENKO, D. (Dmitrii)" userId="30c9d29d-ac41-46ff-b2be-c3f5dd1e26e1" providerId="ADAL" clId="{B3A474F3-5485-4A93-8981-1E68ACC9F057}" dt="2023-02-03T09:02:03.880" v="3280" actId="208"/>
          <ac:cxnSpMkLst>
            <pc:docMk/>
            <pc:sldMk cId="1653022067" sldId="2134806352"/>
            <ac:cxnSpMk id="10" creationId="{4A52CF5D-9329-E6D7-A6FA-BCDAC4357E27}"/>
          </ac:cxnSpMkLst>
        </pc:cxnChg>
      </pc:sldChg>
      <pc:sldChg chg="addSp modSp mod ord">
        <pc:chgData name="STEPANCHENKO, D. (Dmitrii)" userId="30c9d29d-ac41-46ff-b2be-c3f5dd1e26e1" providerId="ADAL" clId="{B3A474F3-5485-4A93-8981-1E68ACC9F057}" dt="2023-02-11T07:06:31.394" v="8535" actId="20577"/>
        <pc:sldMkLst>
          <pc:docMk/>
          <pc:sldMk cId="3668568787" sldId="2134806353"/>
        </pc:sldMkLst>
        <pc:spChg chg="add mod">
          <ac:chgData name="STEPANCHENKO, D. (Dmitrii)" userId="30c9d29d-ac41-46ff-b2be-c3f5dd1e26e1" providerId="ADAL" clId="{B3A474F3-5485-4A93-8981-1E68ACC9F057}" dt="2023-02-11T07:06:31.394" v="8535" actId="20577"/>
          <ac:spMkLst>
            <pc:docMk/>
            <pc:sldMk cId="3668568787" sldId="2134806353"/>
            <ac:spMk id="3" creationId="{DB9E73A9-A0A4-C806-F42F-58CB910E438C}"/>
          </ac:spMkLst>
        </pc:spChg>
        <pc:spChg chg="mod">
          <ac:chgData name="STEPANCHENKO, D. (Dmitrii)" userId="30c9d29d-ac41-46ff-b2be-c3f5dd1e26e1" providerId="ADAL" clId="{B3A474F3-5485-4A93-8981-1E68ACC9F057}" dt="2023-02-11T07:05:58.081" v="8489" actId="1076"/>
          <ac:spMkLst>
            <pc:docMk/>
            <pc:sldMk cId="3668568787" sldId="2134806353"/>
            <ac:spMk id="7" creationId="{0731D363-EF78-44C6-8ACE-46AC66811586}"/>
          </ac:spMkLst>
        </pc:spChg>
      </pc:sldChg>
      <pc:sldChg chg="addSp delSp modSp mod ord">
        <pc:chgData name="STEPANCHENKO, D. (Dmitrii)" userId="30c9d29d-ac41-46ff-b2be-c3f5dd1e26e1" providerId="ADAL" clId="{B3A474F3-5485-4A93-8981-1E68ACC9F057}" dt="2023-03-04T09:23:43.603" v="10159" actId="1038"/>
        <pc:sldMkLst>
          <pc:docMk/>
          <pc:sldMk cId="1098944605" sldId="2134806354"/>
        </pc:sldMkLst>
        <pc:spChg chg="add del">
          <ac:chgData name="STEPANCHENKO, D. (Dmitrii)" userId="30c9d29d-ac41-46ff-b2be-c3f5dd1e26e1" providerId="ADAL" clId="{B3A474F3-5485-4A93-8981-1E68ACC9F057}" dt="2023-02-02T18:09:14.746" v="72" actId="11529"/>
          <ac:spMkLst>
            <pc:docMk/>
            <pc:sldMk cId="1098944605" sldId="2134806354"/>
            <ac:spMk id="3" creationId="{5E19A938-2F9F-7B9C-9E8D-0695441F3A13}"/>
          </ac:spMkLst>
        </pc:spChg>
        <pc:spChg chg="add mod">
          <ac:chgData name="STEPANCHENKO, D. (Dmitrii)" userId="30c9d29d-ac41-46ff-b2be-c3f5dd1e26e1" providerId="ADAL" clId="{B3A474F3-5485-4A93-8981-1E68ACC9F057}" dt="2023-03-04T09:23:43.603" v="10159" actId="1038"/>
          <ac:spMkLst>
            <pc:docMk/>
            <pc:sldMk cId="1098944605" sldId="2134806354"/>
            <ac:spMk id="3" creationId="{E820FFD0-6117-8621-2DD8-B8A477A25F9E}"/>
          </ac:spMkLst>
        </pc:spChg>
        <pc:spChg chg="add mod">
          <ac:chgData name="STEPANCHENKO, D. (Dmitrii)" userId="30c9d29d-ac41-46ff-b2be-c3f5dd1e26e1" providerId="ADAL" clId="{B3A474F3-5485-4A93-8981-1E68ACC9F057}" dt="2023-02-02T19:21:35.127" v="2046" actId="1036"/>
          <ac:spMkLst>
            <pc:docMk/>
            <pc:sldMk cId="1098944605" sldId="2134806354"/>
            <ac:spMk id="4" creationId="{A8077876-DE29-20AE-AE61-7C50584602EC}"/>
          </ac:spMkLst>
        </pc:spChg>
        <pc:spChg chg="mod">
          <ac:chgData name="STEPANCHENKO, D. (Dmitrii)" userId="30c9d29d-ac41-46ff-b2be-c3f5dd1e26e1" providerId="ADAL" clId="{B3A474F3-5485-4A93-8981-1E68ACC9F057}" dt="2023-02-02T18:22:52.379" v="547" actId="20577"/>
          <ac:spMkLst>
            <pc:docMk/>
            <pc:sldMk cId="1098944605" sldId="2134806354"/>
            <ac:spMk id="5" creationId="{81BD1123-3626-1C45-BF5B-1C1864FA8AFA}"/>
          </ac:spMkLst>
        </pc:spChg>
        <pc:spChg chg="add mod">
          <ac:chgData name="STEPANCHENKO, D. (Dmitrii)" userId="30c9d29d-ac41-46ff-b2be-c3f5dd1e26e1" providerId="ADAL" clId="{B3A474F3-5485-4A93-8981-1E68ACC9F057}" dt="2023-03-04T09:23:43.603" v="10159" actId="1038"/>
          <ac:spMkLst>
            <pc:docMk/>
            <pc:sldMk cId="1098944605" sldId="2134806354"/>
            <ac:spMk id="6" creationId="{C771824E-9752-0691-2809-02F25D2B11B4}"/>
          </ac:spMkLst>
        </pc:spChg>
        <pc:spChg chg="add del mod">
          <ac:chgData name="STEPANCHENKO, D. (Dmitrii)" userId="30c9d29d-ac41-46ff-b2be-c3f5dd1e26e1" providerId="ADAL" clId="{B3A474F3-5485-4A93-8981-1E68ACC9F057}" dt="2023-02-02T18:13:15.258" v="244"/>
          <ac:spMkLst>
            <pc:docMk/>
            <pc:sldMk cId="1098944605" sldId="2134806354"/>
            <ac:spMk id="7" creationId="{E0E805EC-A84A-AEE0-3347-47B796967A53}"/>
          </ac:spMkLst>
        </pc:spChg>
        <pc:spChg chg="add mod">
          <ac:chgData name="STEPANCHENKO, D. (Dmitrii)" userId="30c9d29d-ac41-46ff-b2be-c3f5dd1e26e1" providerId="ADAL" clId="{B3A474F3-5485-4A93-8981-1E68ACC9F057}" dt="2023-02-03T11:56:11.308" v="4648" actId="313"/>
          <ac:spMkLst>
            <pc:docMk/>
            <pc:sldMk cId="1098944605" sldId="2134806354"/>
            <ac:spMk id="9" creationId="{86B5E6EA-EDC5-026A-2E3F-A47544EC16A6}"/>
          </ac:spMkLst>
        </pc:spChg>
        <pc:spChg chg="add del mod">
          <ac:chgData name="STEPANCHENKO, D. (Dmitrii)" userId="30c9d29d-ac41-46ff-b2be-c3f5dd1e26e1" providerId="ADAL" clId="{B3A474F3-5485-4A93-8981-1E68ACC9F057}" dt="2023-02-02T18:14:36.003" v="271" actId="478"/>
          <ac:spMkLst>
            <pc:docMk/>
            <pc:sldMk cId="1098944605" sldId="2134806354"/>
            <ac:spMk id="11" creationId="{26F05147-4146-971D-E7E7-3BD03DF431BC}"/>
          </ac:spMkLst>
        </pc:spChg>
        <pc:spChg chg="add mod">
          <ac:chgData name="STEPANCHENKO, D. (Dmitrii)" userId="30c9d29d-ac41-46ff-b2be-c3f5dd1e26e1" providerId="ADAL" clId="{B3A474F3-5485-4A93-8981-1E68ACC9F057}" dt="2023-02-02T19:21:35.127" v="2046" actId="1036"/>
          <ac:spMkLst>
            <pc:docMk/>
            <pc:sldMk cId="1098944605" sldId="2134806354"/>
            <ac:spMk id="12" creationId="{691892AB-BFF6-BC66-B9D9-FB8D87BFF529}"/>
          </ac:spMkLst>
        </pc:spChg>
        <pc:spChg chg="add mod">
          <ac:chgData name="STEPANCHENKO, D. (Dmitrii)" userId="30c9d29d-ac41-46ff-b2be-c3f5dd1e26e1" providerId="ADAL" clId="{B3A474F3-5485-4A93-8981-1E68ACC9F057}" dt="2023-02-02T19:21:35.127" v="2046" actId="1036"/>
          <ac:spMkLst>
            <pc:docMk/>
            <pc:sldMk cId="1098944605" sldId="2134806354"/>
            <ac:spMk id="14" creationId="{892427F7-B666-F565-1832-A2249DB5DE04}"/>
          </ac:spMkLst>
        </pc:spChg>
        <pc:spChg chg="add mod">
          <ac:chgData name="STEPANCHENKO, D. (Dmitrii)" userId="30c9d29d-ac41-46ff-b2be-c3f5dd1e26e1" providerId="ADAL" clId="{B3A474F3-5485-4A93-8981-1E68ACC9F057}" dt="2023-02-02T19:21:35.127" v="2046" actId="1036"/>
          <ac:spMkLst>
            <pc:docMk/>
            <pc:sldMk cId="1098944605" sldId="2134806354"/>
            <ac:spMk id="16" creationId="{29B69AE6-5A8D-881D-1520-5886524BE4E6}"/>
          </ac:spMkLst>
        </pc:spChg>
        <pc:spChg chg="add mod">
          <ac:chgData name="STEPANCHENKO, D. (Dmitrii)" userId="30c9d29d-ac41-46ff-b2be-c3f5dd1e26e1" providerId="ADAL" clId="{B3A474F3-5485-4A93-8981-1E68ACC9F057}" dt="2023-02-02T19:21:35.127" v="2046" actId="1036"/>
          <ac:spMkLst>
            <pc:docMk/>
            <pc:sldMk cId="1098944605" sldId="2134806354"/>
            <ac:spMk id="18" creationId="{E14D8F62-D3AA-4637-141A-5C770AE711ED}"/>
          </ac:spMkLst>
        </pc:spChg>
        <pc:spChg chg="add mod">
          <ac:chgData name="STEPANCHENKO, D. (Dmitrii)" userId="30c9d29d-ac41-46ff-b2be-c3f5dd1e26e1" providerId="ADAL" clId="{B3A474F3-5485-4A93-8981-1E68ACC9F057}" dt="2023-02-02T19:21:35.127" v="2046" actId="1036"/>
          <ac:spMkLst>
            <pc:docMk/>
            <pc:sldMk cId="1098944605" sldId="2134806354"/>
            <ac:spMk id="20" creationId="{425E587E-EABA-2A90-8599-075A84194267}"/>
          </ac:spMkLst>
        </pc:spChg>
        <pc:spChg chg="add mod">
          <ac:chgData name="STEPANCHENKO, D. (Dmitrii)" userId="30c9d29d-ac41-46ff-b2be-c3f5dd1e26e1" providerId="ADAL" clId="{B3A474F3-5485-4A93-8981-1E68ACC9F057}" dt="2023-02-02T19:21:35.127" v="2046" actId="1036"/>
          <ac:spMkLst>
            <pc:docMk/>
            <pc:sldMk cId="1098944605" sldId="2134806354"/>
            <ac:spMk id="22" creationId="{DE84A7F2-A254-2278-5354-3E09DB7CC2D8}"/>
          </ac:spMkLst>
        </pc:spChg>
        <pc:spChg chg="add mod">
          <ac:chgData name="STEPANCHENKO, D. (Dmitrii)" userId="30c9d29d-ac41-46ff-b2be-c3f5dd1e26e1" providerId="ADAL" clId="{B3A474F3-5485-4A93-8981-1E68ACC9F057}" dt="2023-02-02T19:21:35.127" v="2046" actId="1036"/>
          <ac:spMkLst>
            <pc:docMk/>
            <pc:sldMk cId="1098944605" sldId="2134806354"/>
            <ac:spMk id="23" creationId="{B9C219CB-3B12-49F7-7DAB-C92AF856AB57}"/>
          </ac:spMkLst>
        </pc:spChg>
        <pc:spChg chg="add mod">
          <ac:chgData name="STEPANCHENKO, D. (Dmitrii)" userId="30c9d29d-ac41-46ff-b2be-c3f5dd1e26e1" providerId="ADAL" clId="{B3A474F3-5485-4A93-8981-1E68ACC9F057}" dt="2023-02-02T19:21:35.127" v="2046" actId="1036"/>
          <ac:spMkLst>
            <pc:docMk/>
            <pc:sldMk cId="1098944605" sldId="2134806354"/>
            <ac:spMk id="24" creationId="{278664A0-ED84-274D-398C-F12996FE0D12}"/>
          </ac:spMkLst>
        </pc:spChg>
        <pc:spChg chg="add mod">
          <ac:chgData name="STEPANCHENKO, D. (Dmitrii)" userId="30c9d29d-ac41-46ff-b2be-c3f5dd1e26e1" providerId="ADAL" clId="{B3A474F3-5485-4A93-8981-1E68ACC9F057}" dt="2023-02-02T19:21:35.127" v="2046" actId="1036"/>
          <ac:spMkLst>
            <pc:docMk/>
            <pc:sldMk cId="1098944605" sldId="2134806354"/>
            <ac:spMk id="25" creationId="{6A813E22-9F77-D0A9-75EC-EF8307D2D778}"/>
          </ac:spMkLst>
        </pc:spChg>
        <pc:spChg chg="add mod">
          <ac:chgData name="STEPANCHENKO, D. (Dmitrii)" userId="30c9d29d-ac41-46ff-b2be-c3f5dd1e26e1" providerId="ADAL" clId="{B3A474F3-5485-4A93-8981-1E68ACC9F057}" dt="2023-02-02T19:21:35.127" v="2046" actId="1036"/>
          <ac:spMkLst>
            <pc:docMk/>
            <pc:sldMk cId="1098944605" sldId="2134806354"/>
            <ac:spMk id="26" creationId="{1680075F-F374-EBC4-9865-0AA52290493C}"/>
          </ac:spMkLst>
        </pc:spChg>
        <pc:spChg chg="add mod">
          <ac:chgData name="STEPANCHENKO, D. (Dmitrii)" userId="30c9d29d-ac41-46ff-b2be-c3f5dd1e26e1" providerId="ADAL" clId="{B3A474F3-5485-4A93-8981-1E68ACC9F057}" dt="2023-02-03T13:24:07.740" v="5441" actId="1035"/>
          <ac:spMkLst>
            <pc:docMk/>
            <pc:sldMk cId="1098944605" sldId="2134806354"/>
            <ac:spMk id="29" creationId="{ABBA29A4-5C4C-010C-EF18-3287C8E4C44C}"/>
          </ac:spMkLst>
        </pc:spChg>
        <pc:spChg chg="add mod">
          <ac:chgData name="STEPANCHENKO, D. (Dmitrii)" userId="30c9d29d-ac41-46ff-b2be-c3f5dd1e26e1" providerId="ADAL" clId="{B3A474F3-5485-4A93-8981-1E68ACC9F057}" dt="2023-02-02T18:31:34.262" v="738" actId="14100"/>
          <ac:spMkLst>
            <pc:docMk/>
            <pc:sldMk cId="1098944605" sldId="2134806354"/>
            <ac:spMk id="30" creationId="{8EB843D7-79FA-09D3-5E96-29A330ABCE5F}"/>
          </ac:spMkLst>
        </pc:spChg>
        <pc:spChg chg="add mod">
          <ac:chgData name="STEPANCHENKO, D. (Dmitrii)" userId="30c9d29d-ac41-46ff-b2be-c3f5dd1e26e1" providerId="ADAL" clId="{B3A474F3-5485-4A93-8981-1E68ACC9F057}" dt="2023-02-03T13:24:07.740" v="5441" actId="1035"/>
          <ac:spMkLst>
            <pc:docMk/>
            <pc:sldMk cId="1098944605" sldId="2134806354"/>
            <ac:spMk id="31" creationId="{197F8707-951D-0631-A66C-94FDB1F10A24}"/>
          </ac:spMkLst>
        </pc:spChg>
        <pc:spChg chg="add mod">
          <ac:chgData name="STEPANCHENKO, D. (Dmitrii)" userId="30c9d29d-ac41-46ff-b2be-c3f5dd1e26e1" providerId="ADAL" clId="{B3A474F3-5485-4A93-8981-1E68ACC9F057}" dt="2023-02-02T18:31:40.886" v="779" actId="1036"/>
          <ac:spMkLst>
            <pc:docMk/>
            <pc:sldMk cId="1098944605" sldId="2134806354"/>
            <ac:spMk id="32" creationId="{5F1045F2-C4DF-54A7-F2C2-7FD7EDEC2008}"/>
          </ac:spMkLst>
        </pc:spChg>
        <pc:spChg chg="add mod">
          <ac:chgData name="STEPANCHENKO, D. (Dmitrii)" userId="30c9d29d-ac41-46ff-b2be-c3f5dd1e26e1" providerId="ADAL" clId="{B3A474F3-5485-4A93-8981-1E68ACC9F057}" dt="2023-02-02T19:21:35.127" v="2046" actId="1036"/>
          <ac:spMkLst>
            <pc:docMk/>
            <pc:sldMk cId="1098944605" sldId="2134806354"/>
            <ac:spMk id="33" creationId="{E20DFE2A-A534-8736-0B3A-8330307F0667}"/>
          </ac:spMkLst>
        </pc:spChg>
        <pc:spChg chg="add mod">
          <ac:chgData name="STEPANCHENKO, D. (Dmitrii)" userId="30c9d29d-ac41-46ff-b2be-c3f5dd1e26e1" providerId="ADAL" clId="{B3A474F3-5485-4A93-8981-1E68ACC9F057}" dt="2023-02-03T11:54:04.597" v="4585" actId="20577"/>
          <ac:spMkLst>
            <pc:docMk/>
            <pc:sldMk cId="1098944605" sldId="2134806354"/>
            <ac:spMk id="36" creationId="{3E079531-13A5-4892-6DAC-CD5F6C9A3AAF}"/>
          </ac:spMkLst>
        </pc:spChg>
        <pc:spChg chg="add mod">
          <ac:chgData name="STEPANCHENKO, D. (Dmitrii)" userId="30c9d29d-ac41-46ff-b2be-c3f5dd1e26e1" providerId="ADAL" clId="{B3A474F3-5485-4A93-8981-1E68ACC9F057}" dt="2023-02-02T19:21:35.127" v="2046" actId="1036"/>
          <ac:spMkLst>
            <pc:docMk/>
            <pc:sldMk cId="1098944605" sldId="2134806354"/>
            <ac:spMk id="38" creationId="{85E8FE80-1AA6-51F6-2B6B-4D8C670CE255}"/>
          </ac:spMkLst>
        </pc:spChg>
        <pc:spChg chg="add mod">
          <ac:chgData name="STEPANCHENKO, D. (Dmitrii)" userId="30c9d29d-ac41-46ff-b2be-c3f5dd1e26e1" providerId="ADAL" clId="{B3A474F3-5485-4A93-8981-1E68ACC9F057}" dt="2023-02-02T19:21:35.127" v="2046" actId="1036"/>
          <ac:spMkLst>
            <pc:docMk/>
            <pc:sldMk cId="1098944605" sldId="2134806354"/>
            <ac:spMk id="40" creationId="{77785C50-DCEE-C328-E96C-84E2081D6FB3}"/>
          </ac:spMkLst>
        </pc:spChg>
        <pc:spChg chg="add mod">
          <ac:chgData name="STEPANCHENKO, D. (Dmitrii)" userId="30c9d29d-ac41-46ff-b2be-c3f5dd1e26e1" providerId="ADAL" clId="{B3A474F3-5485-4A93-8981-1E68ACC9F057}" dt="2023-02-03T11:44:10.119" v="4469" actId="20577"/>
          <ac:spMkLst>
            <pc:docMk/>
            <pc:sldMk cId="1098944605" sldId="2134806354"/>
            <ac:spMk id="42" creationId="{9A5F33B5-7715-4CB3-AED9-AC01FA407A85}"/>
          </ac:spMkLst>
        </pc:spChg>
        <pc:spChg chg="add del">
          <ac:chgData name="STEPANCHENKO, D. (Dmitrii)" userId="30c9d29d-ac41-46ff-b2be-c3f5dd1e26e1" providerId="ADAL" clId="{B3A474F3-5485-4A93-8981-1E68ACC9F057}" dt="2023-02-02T18:50:35.791" v="1705" actId="11529"/>
          <ac:spMkLst>
            <pc:docMk/>
            <pc:sldMk cId="1098944605" sldId="2134806354"/>
            <ac:spMk id="46" creationId="{B126443A-C879-DB2D-CF99-82CF4F782E32}"/>
          </ac:spMkLst>
        </pc:spChg>
        <pc:spChg chg="add del mod">
          <ac:chgData name="STEPANCHENKO, D. (Dmitrii)" userId="30c9d29d-ac41-46ff-b2be-c3f5dd1e26e1" providerId="ADAL" clId="{B3A474F3-5485-4A93-8981-1E68ACC9F057}" dt="2023-02-02T19:21:29.105" v="2024" actId="478"/>
          <ac:spMkLst>
            <pc:docMk/>
            <pc:sldMk cId="1098944605" sldId="2134806354"/>
            <ac:spMk id="47" creationId="{BE19C3B8-7E90-3936-7226-7B0303AADC99}"/>
          </ac:spMkLst>
        </pc:spChg>
        <pc:spChg chg="add del mod">
          <ac:chgData name="STEPANCHENKO, D. (Dmitrii)" userId="30c9d29d-ac41-46ff-b2be-c3f5dd1e26e1" providerId="ADAL" clId="{B3A474F3-5485-4A93-8981-1E68ACC9F057}" dt="2023-02-02T19:21:29.105" v="2024" actId="478"/>
          <ac:spMkLst>
            <pc:docMk/>
            <pc:sldMk cId="1098944605" sldId="2134806354"/>
            <ac:spMk id="48" creationId="{177A5F38-9739-C6B0-976C-302CF43A2AA8}"/>
          </ac:spMkLst>
        </pc:spChg>
        <pc:picChg chg="add mod">
          <ac:chgData name="STEPANCHENKO, D. (Dmitrii)" userId="30c9d29d-ac41-46ff-b2be-c3f5dd1e26e1" providerId="ADAL" clId="{B3A474F3-5485-4A93-8981-1E68ACC9F057}" dt="2023-02-02T18:31:30.462" v="737" actId="14100"/>
          <ac:picMkLst>
            <pc:docMk/>
            <pc:sldMk cId="1098944605" sldId="2134806354"/>
            <ac:picMk id="28" creationId="{6C793684-DA0C-5D7D-3C6B-393111001F18}"/>
          </ac:picMkLst>
        </pc:picChg>
        <pc:cxnChg chg="add mod">
          <ac:chgData name="STEPANCHENKO, D. (Dmitrii)" userId="30c9d29d-ac41-46ff-b2be-c3f5dd1e26e1" providerId="ADAL" clId="{B3A474F3-5485-4A93-8981-1E68ACC9F057}" dt="2023-02-02T19:21:35.127" v="2046" actId="1036"/>
          <ac:cxnSpMkLst>
            <pc:docMk/>
            <pc:sldMk cId="1098944605" sldId="2134806354"/>
            <ac:cxnSpMk id="35" creationId="{E6FE4E7D-1D34-B95E-A499-1861ECA8B294}"/>
          </ac:cxnSpMkLst>
        </pc:cxnChg>
        <pc:cxnChg chg="add del mod">
          <ac:chgData name="STEPANCHENKO, D. (Dmitrii)" userId="30c9d29d-ac41-46ff-b2be-c3f5dd1e26e1" providerId="ADAL" clId="{B3A474F3-5485-4A93-8981-1E68ACC9F057}" dt="2023-02-02T18:49:06.629" v="1670" actId="478"/>
          <ac:cxnSpMkLst>
            <pc:docMk/>
            <pc:sldMk cId="1098944605" sldId="2134806354"/>
            <ac:cxnSpMk id="37" creationId="{3BB1BFF9-AC59-9C0B-C7A7-95CD28D86683}"/>
          </ac:cxnSpMkLst>
        </pc:cxnChg>
        <pc:cxnChg chg="add del mod">
          <ac:chgData name="STEPANCHENKO, D. (Dmitrii)" userId="30c9d29d-ac41-46ff-b2be-c3f5dd1e26e1" providerId="ADAL" clId="{B3A474F3-5485-4A93-8981-1E68ACC9F057}" dt="2023-02-02T18:49:06.629" v="1670" actId="478"/>
          <ac:cxnSpMkLst>
            <pc:docMk/>
            <pc:sldMk cId="1098944605" sldId="2134806354"/>
            <ac:cxnSpMk id="39" creationId="{C5319B84-5F66-CAE9-9DB3-C28FBD833EAE}"/>
          </ac:cxnSpMkLst>
        </pc:cxnChg>
        <pc:cxnChg chg="add del mod">
          <ac:chgData name="STEPANCHENKO, D. (Dmitrii)" userId="30c9d29d-ac41-46ff-b2be-c3f5dd1e26e1" providerId="ADAL" clId="{B3A474F3-5485-4A93-8981-1E68ACC9F057}" dt="2023-02-02T18:49:06.629" v="1670" actId="478"/>
          <ac:cxnSpMkLst>
            <pc:docMk/>
            <pc:sldMk cId="1098944605" sldId="2134806354"/>
            <ac:cxnSpMk id="41" creationId="{1B325457-AECA-A1E0-8444-69D4915A5665}"/>
          </ac:cxnSpMkLst>
        </pc:cxnChg>
        <pc:cxnChg chg="add mod">
          <ac:chgData name="STEPANCHENKO, D. (Dmitrii)" userId="30c9d29d-ac41-46ff-b2be-c3f5dd1e26e1" providerId="ADAL" clId="{B3A474F3-5485-4A93-8981-1E68ACC9F057}" dt="2023-02-02T19:21:35.127" v="2046" actId="1036"/>
          <ac:cxnSpMkLst>
            <pc:docMk/>
            <pc:sldMk cId="1098944605" sldId="2134806354"/>
            <ac:cxnSpMk id="43" creationId="{A4CC6D6F-42B4-BD32-F214-CE2EE686726D}"/>
          </ac:cxnSpMkLst>
        </pc:cxnChg>
        <pc:cxnChg chg="add mod">
          <ac:chgData name="STEPANCHENKO, D. (Dmitrii)" userId="30c9d29d-ac41-46ff-b2be-c3f5dd1e26e1" providerId="ADAL" clId="{B3A474F3-5485-4A93-8981-1E68ACC9F057}" dt="2023-02-02T19:21:35.127" v="2046" actId="1036"/>
          <ac:cxnSpMkLst>
            <pc:docMk/>
            <pc:sldMk cId="1098944605" sldId="2134806354"/>
            <ac:cxnSpMk id="44" creationId="{9B819088-06E2-B36B-65EB-7AB4F412E117}"/>
          </ac:cxnSpMkLst>
        </pc:cxnChg>
        <pc:cxnChg chg="add mod">
          <ac:chgData name="STEPANCHENKO, D. (Dmitrii)" userId="30c9d29d-ac41-46ff-b2be-c3f5dd1e26e1" providerId="ADAL" clId="{B3A474F3-5485-4A93-8981-1E68ACC9F057}" dt="2023-02-02T19:21:35.127" v="2046" actId="1036"/>
          <ac:cxnSpMkLst>
            <pc:docMk/>
            <pc:sldMk cId="1098944605" sldId="2134806354"/>
            <ac:cxnSpMk id="45" creationId="{0DCA9C1F-E974-524B-108F-888416170AD1}"/>
          </ac:cxnSpMkLst>
        </pc:cxnChg>
      </pc:sldChg>
      <pc:sldChg chg="addSp delSp modSp add mod ord">
        <pc:chgData name="STEPANCHENKO, D. (Dmitrii)" userId="30c9d29d-ac41-46ff-b2be-c3f5dd1e26e1" providerId="ADAL" clId="{B3A474F3-5485-4A93-8981-1E68ACC9F057}" dt="2023-02-05T11:26:39.868" v="8484" actId="207"/>
        <pc:sldMkLst>
          <pc:docMk/>
          <pc:sldMk cId="2104593195" sldId="2134806355"/>
        </pc:sldMkLst>
        <pc:spChg chg="add del mod">
          <ac:chgData name="STEPANCHENKO, D. (Dmitrii)" userId="30c9d29d-ac41-46ff-b2be-c3f5dd1e26e1" providerId="ADAL" clId="{B3A474F3-5485-4A93-8981-1E68ACC9F057}" dt="2023-02-05T11:03:30.678" v="7588" actId="478"/>
          <ac:spMkLst>
            <pc:docMk/>
            <pc:sldMk cId="2104593195" sldId="2134806355"/>
            <ac:spMk id="3" creationId="{045058D7-B51E-D43C-FF13-E4066AB6D01E}"/>
          </ac:spMkLst>
        </pc:spChg>
        <pc:spChg chg="mod">
          <ac:chgData name="STEPANCHENKO, D. (Dmitrii)" userId="30c9d29d-ac41-46ff-b2be-c3f5dd1e26e1" providerId="ADAL" clId="{B3A474F3-5485-4A93-8981-1E68ACC9F057}" dt="2023-02-03T09:23:36.137" v="3386" actId="20577"/>
          <ac:spMkLst>
            <pc:docMk/>
            <pc:sldMk cId="2104593195" sldId="2134806355"/>
            <ac:spMk id="5" creationId="{81BD1123-3626-1C45-BF5B-1C1864FA8AFA}"/>
          </ac:spMkLst>
        </pc:spChg>
        <pc:spChg chg="add mod">
          <ac:chgData name="STEPANCHENKO, D. (Dmitrii)" userId="30c9d29d-ac41-46ff-b2be-c3f5dd1e26e1" providerId="ADAL" clId="{B3A474F3-5485-4A93-8981-1E68ACC9F057}" dt="2023-02-05T11:11:03.448" v="8099" actId="1036"/>
          <ac:spMkLst>
            <pc:docMk/>
            <pc:sldMk cId="2104593195" sldId="2134806355"/>
            <ac:spMk id="6" creationId="{F8F7B6F6-480C-BC02-9625-3BB8A8392025}"/>
          </ac:spMkLst>
        </pc:spChg>
        <pc:spChg chg="add mod">
          <ac:chgData name="STEPANCHENKO, D. (Dmitrii)" userId="30c9d29d-ac41-46ff-b2be-c3f5dd1e26e1" providerId="ADAL" clId="{B3A474F3-5485-4A93-8981-1E68ACC9F057}" dt="2023-02-05T11:26:39.868" v="8484" actId="207"/>
          <ac:spMkLst>
            <pc:docMk/>
            <pc:sldMk cId="2104593195" sldId="2134806355"/>
            <ac:spMk id="8" creationId="{F11D3742-CF40-E007-1538-B06A5BE4DF00}"/>
          </ac:spMkLst>
        </pc:spChg>
        <pc:spChg chg="add mod">
          <ac:chgData name="STEPANCHENKO, D. (Dmitrii)" userId="30c9d29d-ac41-46ff-b2be-c3f5dd1e26e1" providerId="ADAL" clId="{B3A474F3-5485-4A93-8981-1E68ACC9F057}" dt="2023-02-05T11:10:25.157" v="8064" actId="14100"/>
          <ac:spMkLst>
            <pc:docMk/>
            <pc:sldMk cId="2104593195" sldId="2134806355"/>
            <ac:spMk id="9" creationId="{4C313E30-499E-6F2E-FCC6-290F2158277F}"/>
          </ac:spMkLst>
        </pc:spChg>
        <pc:spChg chg="add mod">
          <ac:chgData name="STEPANCHENKO, D. (Dmitrii)" userId="30c9d29d-ac41-46ff-b2be-c3f5dd1e26e1" providerId="ADAL" clId="{B3A474F3-5485-4A93-8981-1E68ACC9F057}" dt="2023-02-05T11:10:48.257" v="8087" actId="1035"/>
          <ac:spMkLst>
            <pc:docMk/>
            <pc:sldMk cId="2104593195" sldId="2134806355"/>
            <ac:spMk id="10" creationId="{06902B11-2E62-6667-4DA4-588903EA564A}"/>
          </ac:spMkLst>
        </pc:spChg>
        <pc:spChg chg="add mod">
          <ac:chgData name="STEPANCHENKO, D. (Dmitrii)" userId="30c9d29d-ac41-46ff-b2be-c3f5dd1e26e1" providerId="ADAL" clId="{B3A474F3-5485-4A93-8981-1E68ACC9F057}" dt="2023-02-05T11:26:17.342" v="8474" actId="207"/>
          <ac:spMkLst>
            <pc:docMk/>
            <pc:sldMk cId="2104593195" sldId="2134806355"/>
            <ac:spMk id="11" creationId="{BAF46B7A-A5FA-3049-5BEB-F797CE535516}"/>
          </ac:spMkLst>
        </pc:spChg>
        <pc:spChg chg="add mod">
          <ac:chgData name="STEPANCHENKO, D. (Dmitrii)" userId="30c9d29d-ac41-46ff-b2be-c3f5dd1e26e1" providerId="ADAL" clId="{B3A474F3-5485-4A93-8981-1E68ACC9F057}" dt="2023-02-05T11:10:48.257" v="8087" actId="1035"/>
          <ac:spMkLst>
            <pc:docMk/>
            <pc:sldMk cId="2104593195" sldId="2134806355"/>
            <ac:spMk id="12" creationId="{A93478A3-6C9D-A223-9CB7-FD2BD0C93586}"/>
          </ac:spMkLst>
        </pc:spChg>
        <pc:spChg chg="add mod">
          <ac:chgData name="STEPANCHENKO, D. (Dmitrii)" userId="30c9d29d-ac41-46ff-b2be-c3f5dd1e26e1" providerId="ADAL" clId="{B3A474F3-5485-4A93-8981-1E68ACC9F057}" dt="2023-02-05T11:26:39.868" v="8484" actId="207"/>
          <ac:spMkLst>
            <pc:docMk/>
            <pc:sldMk cId="2104593195" sldId="2134806355"/>
            <ac:spMk id="13" creationId="{BE519FF1-1A77-0B1C-D0B9-EA4DD1972371}"/>
          </ac:spMkLst>
        </pc:spChg>
        <pc:spChg chg="add mod">
          <ac:chgData name="STEPANCHENKO, D. (Dmitrii)" userId="30c9d29d-ac41-46ff-b2be-c3f5dd1e26e1" providerId="ADAL" clId="{B3A474F3-5485-4A93-8981-1E68ACC9F057}" dt="2023-02-05T11:26:17.342" v="8474" actId="207"/>
          <ac:spMkLst>
            <pc:docMk/>
            <pc:sldMk cId="2104593195" sldId="2134806355"/>
            <ac:spMk id="14" creationId="{D11DE9F9-0FE8-6B19-637C-295C7F0C2F2A}"/>
          </ac:spMkLst>
        </pc:spChg>
        <pc:spChg chg="add mod">
          <ac:chgData name="STEPANCHENKO, D. (Dmitrii)" userId="30c9d29d-ac41-46ff-b2be-c3f5dd1e26e1" providerId="ADAL" clId="{B3A474F3-5485-4A93-8981-1E68ACC9F057}" dt="2023-02-05T11:26:18.657" v="8479" actId="113"/>
          <ac:spMkLst>
            <pc:docMk/>
            <pc:sldMk cId="2104593195" sldId="2134806355"/>
            <ac:spMk id="15" creationId="{F4296020-F564-77A7-4AFB-B495ED415644}"/>
          </ac:spMkLst>
        </pc:spChg>
        <pc:spChg chg="add mod">
          <ac:chgData name="STEPANCHENKO, D. (Dmitrii)" userId="30c9d29d-ac41-46ff-b2be-c3f5dd1e26e1" providerId="ADAL" clId="{B3A474F3-5485-4A93-8981-1E68ACC9F057}" dt="2023-02-05T11:26:21.959" v="8483" actId="255"/>
          <ac:spMkLst>
            <pc:docMk/>
            <pc:sldMk cId="2104593195" sldId="2134806355"/>
            <ac:spMk id="16" creationId="{193F4ADE-0A65-F57E-BC67-EB1EC48C95B4}"/>
          </ac:spMkLst>
        </pc:spChg>
        <pc:spChg chg="add mod">
          <ac:chgData name="STEPANCHENKO, D. (Dmitrii)" userId="30c9d29d-ac41-46ff-b2be-c3f5dd1e26e1" providerId="ADAL" clId="{B3A474F3-5485-4A93-8981-1E68ACC9F057}" dt="2023-02-05T11:10:48.257" v="8087" actId="1035"/>
          <ac:spMkLst>
            <pc:docMk/>
            <pc:sldMk cId="2104593195" sldId="2134806355"/>
            <ac:spMk id="17" creationId="{C305597E-9E2E-EDF6-59E8-9605794AAA2B}"/>
          </ac:spMkLst>
        </pc:spChg>
        <pc:spChg chg="add mod">
          <ac:chgData name="STEPANCHENKO, D. (Dmitrii)" userId="30c9d29d-ac41-46ff-b2be-c3f5dd1e26e1" providerId="ADAL" clId="{B3A474F3-5485-4A93-8981-1E68ACC9F057}" dt="2023-02-05T11:26:18.657" v="8479" actId="113"/>
          <ac:spMkLst>
            <pc:docMk/>
            <pc:sldMk cId="2104593195" sldId="2134806355"/>
            <ac:spMk id="18" creationId="{B18081E6-1A5D-9381-138A-880A4AF120CB}"/>
          </ac:spMkLst>
        </pc:spChg>
        <pc:spChg chg="add mod">
          <ac:chgData name="STEPANCHENKO, D. (Dmitrii)" userId="30c9d29d-ac41-46ff-b2be-c3f5dd1e26e1" providerId="ADAL" clId="{B3A474F3-5485-4A93-8981-1E68ACC9F057}" dt="2023-02-05T11:26:18.657" v="8479" actId="113"/>
          <ac:spMkLst>
            <pc:docMk/>
            <pc:sldMk cId="2104593195" sldId="2134806355"/>
            <ac:spMk id="19" creationId="{494538AF-12C1-B927-2CC4-DF45A4C74607}"/>
          </ac:spMkLst>
        </pc:spChg>
        <pc:spChg chg="add mod">
          <ac:chgData name="STEPANCHENKO, D. (Dmitrii)" userId="30c9d29d-ac41-46ff-b2be-c3f5dd1e26e1" providerId="ADAL" clId="{B3A474F3-5485-4A93-8981-1E68ACC9F057}" dt="2023-02-05T11:10:48.257" v="8087" actId="1035"/>
          <ac:spMkLst>
            <pc:docMk/>
            <pc:sldMk cId="2104593195" sldId="2134806355"/>
            <ac:spMk id="20" creationId="{05FF9D23-6E32-1FE6-88D1-96A5C8688681}"/>
          </ac:spMkLst>
        </pc:spChg>
        <pc:spChg chg="add mod">
          <ac:chgData name="STEPANCHENKO, D. (Dmitrii)" userId="30c9d29d-ac41-46ff-b2be-c3f5dd1e26e1" providerId="ADAL" clId="{B3A474F3-5485-4A93-8981-1E68ACC9F057}" dt="2023-02-05T11:26:16.628" v="8469" actId="207"/>
          <ac:spMkLst>
            <pc:docMk/>
            <pc:sldMk cId="2104593195" sldId="2134806355"/>
            <ac:spMk id="21" creationId="{B17FDB00-A216-6486-09ED-8B6F60BF30B7}"/>
          </ac:spMkLst>
        </pc:spChg>
        <pc:spChg chg="add mod">
          <ac:chgData name="STEPANCHENKO, D. (Dmitrii)" userId="30c9d29d-ac41-46ff-b2be-c3f5dd1e26e1" providerId="ADAL" clId="{B3A474F3-5485-4A93-8981-1E68ACC9F057}" dt="2023-02-05T11:26:17.201" v="8473" actId="14100"/>
          <ac:spMkLst>
            <pc:docMk/>
            <pc:sldMk cId="2104593195" sldId="2134806355"/>
            <ac:spMk id="22" creationId="{E70B54BB-732B-F5DB-33CB-764F3173DB4A}"/>
          </ac:spMkLst>
        </pc:spChg>
        <pc:spChg chg="add mod">
          <ac:chgData name="STEPANCHENKO, D. (Dmitrii)" userId="30c9d29d-ac41-46ff-b2be-c3f5dd1e26e1" providerId="ADAL" clId="{B3A474F3-5485-4A93-8981-1E68ACC9F057}" dt="2023-02-05T11:10:42.009" v="8072" actId="1038"/>
          <ac:spMkLst>
            <pc:docMk/>
            <pc:sldMk cId="2104593195" sldId="2134806355"/>
            <ac:spMk id="23" creationId="{A444F367-76F8-269F-F225-DF33FD5E5231}"/>
          </ac:spMkLst>
        </pc:spChg>
        <pc:spChg chg="add mod">
          <ac:chgData name="STEPANCHENKO, D. (Dmitrii)" userId="30c9d29d-ac41-46ff-b2be-c3f5dd1e26e1" providerId="ADAL" clId="{B3A474F3-5485-4A93-8981-1E68ACC9F057}" dt="2023-02-05T11:10:59.739" v="8089" actId="1076"/>
          <ac:spMkLst>
            <pc:docMk/>
            <pc:sldMk cId="2104593195" sldId="2134806355"/>
            <ac:spMk id="24" creationId="{7ED1B693-89ED-7AEE-266A-78AFF593665F}"/>
          </ac:spMkLst>
        </pc:spChg>
        <pc:spChg chg="add mod">
          <ac:chgData name="STEPANCHENKO, D. (Dmitrii)" userId="30c9d29d-ac41-46ff-b2be-c3f5dd1e26e1" providerId="ADAL" clId="{B3A474F3-5485-4A93-8981-1E68ACC9F057}" dt="2023-02-05T11:26:17.084" v="8472" actId="113"/>
          <ac:spMkLst>
            <pc:docMk/>
            <pc:sldMk cId="2104593195" sldId="2134806355"/>
            <ac:spMk id="25" creationId="{1DEB96A2-4F6F-EEAF-790C-13ACEC7ED094}"/>
          </ac:spMkLst>
        </pc:spChg>
        <pc:spChg chg="add mod">
          <ac:chgData name="STEPANCHENKO, D. (Dmitrii)" userId="30c9d29d-ac41-46ff-b2be-c3f5dd1e26e1" providerId="ADAL" clId="{B3A474F3-5485-4A93-8981-1E68ACC9F057}" dt="2023-02-05T11:26:17.201" v="8473" actId="14100"/>
          <ac:spMkLst>
            <pc:docMk/>
            <pc:sldMk cId="2104593195" sldId="2134806355"/>
            <ac:spMk id="26" creationId="{A2D31C75-366E-F6BE-82BC-2890FDA31487}"/>
          </ac:spMkLst>
        </pc:spChg>
        <pc:spChg chg="add mod">
          <ac:chgData name="STEPANCHENKO, D. (Dmitrii)" userId="30c9d29d-ac41-46ff-b2be-c3f5dd1e26e1" providerId="ADAL" clId="{B3A474F3-5485-4A93-8981-1E68ACC9F057}" dt="2023-02-05T11:23:15.406" v="8400" actId="207"/>
          <ac:spMkLst>
            <pc:docMk/>
            <pc:sldMk cId="2104593195" sldId="2134806355"/>
            <ac:spMk id="27" creationId="{44734C1F-001A-089E-8F62-9EF42641D903}"/>
          </ac:spMkLst>
        </pc:spChg>
        <pc:spChg chg="add mod">
          <ac:chgData name="STEPANCHENKO, D. (Dmitrii)" userId="30c9d29d-ac41-46ff-b2be-c3f5dd1e26e1" providerId="ADAL" clId="{B3A474F3-5485-4A93-8981-1E68ACC9F057}" dt="2023-02-05T11:23:15.406" v="8400" actId="207"/>
          <ac:spMkLst>
            <pc:docMk/>
            <pc:sldMk cId="2104593195" sldId="2134806355"/>
            <ac:spMk id="28" creationId="{108B31E4-51B5-2507-B378-74EA9DE48FBB}"/>
          </ac:spMkLst>
        </pc:spChg>
        <pc:spChg chg="add mod">
          <ac:chgData name="STEPANCHENKO, D. (Dmitrii)" userId="30c9d29d-ac41-46ff-b2be-c3f5dd1e26e1" providerId="ADAL" clId="{B3A474F3-5485-4A93-8981-1E68ACC9F057}" dt="2023-02-05T11:23:21.715" v="8401" actId="2085"/>
          <ac:spMkLst>
            <pc:docMk/>
            <pc:sldMk cId="2104593195" sldId="2134806355"/>
            <ac:spMk id="29" creationId="{8F3D40BB-563C-4D5B-8ADB-7A4A6739F607}"/>
          </ac:spMkLst>
        </pc:spChg>
        <pc:spChg chg="add mod">
          <ac:chgData name="STEPANCHENKO, D. (Dmitrii)" userId="30c9d29d-ac41-46ff-b2be-c3f5dd1e26e1" providerId="ADAL" clId="{B3A474F3-5485-4A93-8981-1E68ACC9F057}" dt="2023-02-05T11:23:21.715" v="8401" actId="2085"/>
          <ac:spMkLst>
            <pc:docMk/>
            <pc:sldMk cId="2104593195" sldId="2134806355"/>
            <ac:spMk id="30" creationId="{574BFA49-CF6C-4880-42A6-3F7ECCC758D2}"/>
          </ac:spMkLst>
        </pc:spChg>
        <pc:graphicFrameChg chg="add del">
          <ac:chgData name="STEPANCHENKO, D. (Dmitrii)" userId="30c9d29d-ac41-46ff-b2be-c3f5dd1e26e1" providerId="ADAL" clId="{B3A474F3-5485-4A93-8981-1E68ACC9F057}" dt="2023-02-05T10:35:19.942" v="7169" actId="478"/>
          <ac:graphicFrameMkLst>
            <pc:docMk/>
            <pc:sldMk cId="2104593195" sldId="2134806355"/>
            <ac:graphicFrameMk id="7" creationId="{3712E2BA-B287-171F-7DD9-4E31DA641E46}"/>
          </ac:graphicFrameMkLst>
        </pc:graphicFrameChg>
      </pc:sldChg>
      <pc:sldChg chg="addSp delSp modSp add mod ord delAnim modAnim">
        <pc:chgData name="STEPANCHENKO, D. (Dmitrii)" userId="30c9d29d-ac41-46ff-b2be-c3f5dd1e26e1" providerId="ADAL" clId="{B3A474F3-5485-4A93-8981-1E68ACC9F057}" dt="2023-02-11T07:11:59.224" v="8572"/>
        <pc:sldMkLst>
          <pc:docMk/>
          <pc:sldMk cId="3369279782" sldId="2134806356"/>
        </pc:sldMkLst>
        <pc:spChg chg="add mod">
          <ac:chgData name="STEPANCHENKO, D. (Dmitrii)" userId="30c9d29d-ac41-46ff-b2be-c3f5dd1e26e1" providerId="ADAL" clId="{B3A474F3-5485-4A93-8981-1E68ACC9F057}" dt="2023-02-03T10:10:52.958" v="4118" actId="255"/>
          <ac:spMkLst>
            <pc:docMk/>
            <pc:sldMk cId="3369279782" sldId="2134806356"/>
            <ac:spMk id="4" creationId="{3D4CEF53-7021-30E6-B21C-93F1EECE76C9}"/>
          </ac:spMkLst>
        </pc:spChg>
        <pc:spChg chg="mod">
          <ac:chgData name="STEPANCHENKO, D. (Dmitrii)" userId="30c9d29d-ac41-46ff-b2be-c3f5dd1e26e1" providerId="ADAL" clId="{B3A474F3-5485-4A93-8981-1E68ACC9F057}" dt="2023-02-03T09:34:04.001" v="3508" actId="20577"/>
          <ac:spMkLst>
            <pc:docMk/>
            <pc:sldMk cId="3369279782" sldId="2134806356"/>
            <ac:spMk id="5" creationId="{81BD1123-3626-1C45-BF5B-1C1864FA8AFA}"/>
          </ac:spMkLst>
        </pc:spChg>
        <pc:spChg chg="add mod">
          <ac:chgData name="STEPANCHENKO, D. (Dmitrii)" userId="30c9d29d-ac41-46ff-b2be-c3f5dd1e26e1" providerId="ADAL" clId="{B3A474F3-5485-4A93-8981-1E68ACC9F057}" dt="2023-02-03T08:58:47.255" v="3028" actId="208"/>
          <ac:spMkLst>
            <pc:docMk/>
            <pc:sldMk cId="3369279782" sldId="2134806356"/>
            <ac:spMk id="6" creationId="{F9DFA3C5-1578-A196-BDBA-ED3D79BF331D}"/>
          </ac:spMkLst>
        </pc:spChg>
        <pc:graphicFrameChg chg="add mod">
          <ac:chgData name="STEPANCHENKO, D. (Dmitrii)" userId="30c9d29d-ac41-46ff-b2be-c3f5dd1e26e1" providerId="ADAL" clId="{B3A474F3-5485-4A93-8981-1E68ACC9F057}" dt="2023-02-03T09:52:16.459" v="3539" actId="255"/>
          <ac:graphicFrameMkLst>
            <pc:docMk/>
            <pc:sldMk cId="3369279782" sldId="2134806356"/>
            <ac:graphicFrameMk id="3" creationId="{749F503D-81C8-555B-F390-7EC8E6D1A3E2}"/>
          </ac:graphicFrameMkLst>
        </pc:graphicFrameChg>
        <pc:picChg chg="add del mod">
          <ac:chgData name="STEPANCHENKO, D. (Dmitrii)" userId="30c9d29d-ac41-46ff-b2be-c3f5dd1e26e1" providerId="ADAL" clId="{B3A474F3-5485-4A93-8981-1E68ACC9F057}" dt="2023-02-03T10:10:46.435" v="4115" actId="478"/>
          <ac:picMkLst>
            <pc:docMk/>
            <pc:sldMk cId="3369279782" sldId="2134806356"/>
            <ac:picMk id="8" creationId="{323C034A-F658-A913-6EF7-D23BF90973A9}"/>
          </ac:picMkLst>
        </pc:picChg>
        <pc:picChg chg="add mod">
          <ac:chgData name="STEPANCHENKO, D. (Dmitrii)" userId="30c9d29d-ac41-46ff-b2be-c3f5dd1e26e1" providerId="ADAL" clId="{B3A474F3-5485-4A93-8981-1E68ACC9F057}" dt="2023-02-03T10:10:59.244" v="4121" actId="14100"/>
          <ac:picMkLst>
            <pc:docMk/>
            <pc:sldMk cId="3369279782" sldId="2134806356"/>
            <ac:picMk id="9" creationId="{C80B9A66-3428-C538-1BD2-9B9B791E807F}"/>
          </ac:picMkLst>
        </pc:picChg>
      </pc:sldChg>
      <pc:sldChg chg="addSp modSp add mod ord">
        <pc:chgData name="STEPANCHENKO, D. (Dmitrii)" userId="30c9d29d-ac41-46ff-b2be-c3f5dd1e26e1" providerId="ADAL" clId="{B3A474F3-5485-4A93-8981-1E68ACC9F057}" dt="2023-02-03T08:36:07.633" v="2382" actId="1036"/>
        <pc:sldMkLst>
          <pc:docMk/>
          <pc:sldMk cId="507477719" sldId="2134806357"/>
        </pc:sldMkLst>
        <pc:spChg chg="add mod">
          <ac:chgData name="STEPANCHENKO, D. (Dmitrii)" userId="30c9d29d-ac41-46ff-b2be-c3f5dd1e26e1" providerId="ADAL" clId="{B3A474F3-5485-4A93-8981-1E68ACC9F057}" dt="2023-02-03T08:36:07.633" v="2382" actId="1036"/>
          <ac:spMkLst>
            <pc:docMk/>
            <pc:sldMk cId="507477719" sldId="2134806357"/>
            <ac:spMk id="3" creationId="{E6C42D6E-CFFE-B727-ED26-0748BE613269}"/>
          </ac:spMkLst>
        </pc:spChg>
        <pc:spChg chg="mod">
          <ac:chgData name="STEPANCHENKO, D. (Dmitrii)" userId="30c9d29d-ac41-46ff-b2be-c3f5dd1e26e1" providerId="ADAL" clId="{B3A474F3-5485-4A93-8981-1E68ACC9F057}" dt="2023-02-03T08:35:36.299" v="2372" actId="20577"/>
          <ac:spMkLst>
            <pc:docMk/>
            <pc:sldMk cId="507477719" sldId="2134806357"/>
            <ac:spMk id="5" creationId="{81BD1123-3626-1C45-BF5B-1C1864FA8AFA}"/>
          </ac:spMkLst>
        </pc:spChg>
      </pc:sldChg>
      <pc:sldChg chg="addSp modSp add del mod ord">
        <pc:chgData name="STEPANCHENKO, D. (Dmitrii)" userId="30c9d29d-ac41-46ff-b2be-c3f5dd1e26e1" providerId="ADAL" clId="{B3A474F3-5485-4A93-8981-1E68ACC9F057}" dt="2023-02-03T13:26:20.843" v="5442" actId="47"/>
        <pc:sldMkLst>
          <pc:docMk/>
          <pc:sldMk cId="3071024765" sldId="2134806358"/>
        </pc:sldMkLst>
        <pc:spChg chg="add mod">
          <ac:chgData name="STEPANCHENKO, D. (Dmitrii)" userId="30c9d29d-ac41-46ff-b2be-c3f5dd1e26e1" providerId="ADAL" clId="{B3A474F3-5485-4A93-8981-1E68ACC9F057}" dt="2023-02-03T09:30:51.998" v="3506" actId="20577"/>
          <ac:spMkLst>
            <pc:docMk/>
            <pc:sldMk cId="3071024765" sldId="2134806358"/>
            <ac:spMk id="3" creationId="{6FBAE490-C92D-669D-EFF0-5D966A56CD42}"/>
          </ac:spMkLst>
        </pc:spChg>
        <pc:spChg chg="mod">
          <ac:chgData name="STEPANCHENKO, D. (Dmitrii)" userId="30c9d29d-ac41-46ff-b2be-c3f5dd1e26e1" providerId="ADAL" clId="{B3A474F3-5485-4A93-8981-1E68ACC9F057}" dt="2023-02-03T09:30:07.525" v="3427" actId="20577"/>
          <ac:spMkLst>
            <pc:docMk/>
            <pc:sldMk cId="3071024765" sldId="2134806358"/>
            <ac:spMk id="5" creationId="{81BD1123-3626-1C45-BF5B-1C1864FA8AFA}"/>
          </ac:spMkLst>
        </pc:spChg>
      </pc:sldChg>
      <pc:sldChg chg="addSp delSp modSp add mod ord">
        <pc:chgData name="STEPANCHENKO, D. (Dmitrii)" userId="30c9d29d-ac41-46ff-b2be-c3f5dd1e26e1" providerId="ADAL" clId="{B3A474F3-5485-4A93-8981-1E68ACC9F057}" dt="2023-03-04T08:08:01.795" v="10112" actId="20577"/>
        <pc:sldMkLst>
          <pc:docMk/>
          <pc:sldMk cId="1026104641" sldId="2134806359"/>
        </pc:sldMkLst>
        <pc:spChg chg="add del mod">
          <ac:chgData name="STEPANCHENKO, D. (Dmitrii)" userId="30c9d29d-ac41-46ff-b2be-c3f5dd1e26e1" providerId="ADAL" clId="{B3A474F3-5485-4A93-8981-1E68ACC9F057}" dt="2023-02-03T12:51:56.833" v="4903" actId="1036"/>
          <ac:spMkLst>
            <pc:docMk/>
            <pc:sldMk cId="1026104641" sldId="2134806359"/>
            <ac:spMk id="3" creationId="{573CED5A-2C61-3ABB-D8DE-0E2F11EE3918}"/>
          </ac:spMkLst>
        </pc:spChg>
        <pc:spChg chg="mod">
          <ac:chgData name="STEPANCHENKO, D. (Dmitrii)" userId="30c9d29d-ac41-46ff-b2be-c3f5dd1e26e1" providerId="ADAL" clId="{B3A474F3-5485-4A93-8981-1E68ACC9F057}" dt="2023-02-03T12:51:56.833" v="4903" actId="1036"/>
          <ac:spMkLst>
            <pc:docMk/>
            <pc:sldMk cId="1026104641" sldId="2134806359"/>
            <ac:spMk id="4" creationId="{A8077876-DE29-20AE-AE61-7C50584602EC}"/>
          </ac:spMkLst>
        </pc:spChg>
        <pc:spChg chg="mod">
          <ac:chgData name="STEPANCHENKO, D. (Dmitrii)" userId="30c9d29d-ac41-46ff-b2be-c3f5dd1e26e1" providerId="ADAL" clId="{B3A474F3-5485-4A93-8981-1E68ACC9F057}" dt="2023-02-03T12:53:05.887" v="4906" actId="1076"/>
          <ac:spMkLst>
            <pc:docMk/>
            <pc:sldMk cId="1026104641" sldId="2134806359"/>
            <ac:spMk id="5" creationId="{81BD1123-3626-1C45-BF5B-1C1864FA8AFA}"/>
          </ac:spMkLst>
        </pc:spChg>
        <pc:spChg chg="add mod">
          <ac:chgData name="STEPANCHENKO, D. (Dmitrii)" userId="30c9d29d-ac41-46ff-b2be-c3f5dd1e26e1" providerId="ADAL" clId="{B3A474F3-5485-4A93-8981-1E68ACC9F057}" dt="2023-02-03T12:51:56.833" v="4903" actId="1036"/>
          <ac:spMkLst>
            <pc:docMk/>
            <pc:sldMk cId="1026104641" sldId="2134806359"/>
            <ac:spMk id="6" creationId="{257ACACA-8F70-6BE5-9286-2AF16D03EEAB}"/>
          </ac:spMkLst>
        </pc:spChg>
        <pc:spChg chg="add mod">
          <ac:chgData name="STEPANCHENKO, D. (Dmitrii)" userId="30c9d29d-ac41-46ff-b2be-c3f5dd1e26e1" providerId="ADAL" clId="{B3A474F3-5485-4A93-8981-1E68ACC9F057}" dt="2023-02-03T12:51:56.833" v="4903" actId="1036"/>
          <ac:spMkLst>
            <pc:docMk/>
            <pc:sldMk cId="1026104641" sldId="2134806359"/>
            <ac:spMk id="7" creationId="{3C1741CB-04C5-24DF-4E5D-DA34AB99D5ED}"/>
          </ac:spMkLst>
        </pc:spChg>
        <pc:spChg chg="add mod">
          <ac:chgData name="STEPANCHENKO, D. (Dmitrii)" userId="30c9d29d-ac41-46ff-b2be-c3f5dd1e26e1" providerId="ADAL" clId="{B3A474F3-5485-4A93-8981-1E68ACC9F057}" dt="2023-02-03T12:51:56.833" v="4903" actId="1036"/>
          <ac:spMkLst>
            <pc:docMk/>
            <pc:sldMk cId="1026104641" sldId="2134806359"/>
            <ac:spMk id="8" creationId="{8A39181E-37AB-10FA-2F20-A51BA7B3C8E6}"/>
          </ac:spMkLst>
        </pc:spChg>
        <pc:spChg chg="mod">
          <ac:chgData name="STEPANCHENKO, D. (Dmitrii)" userId="30c9d29d-ac41-46ff-b2be-c3f5dd1e26e1" providerId="ADAL" clId="{B3A474F3-5485-4A93-8981-1E68ACC9F057}" dt="2023-03-04T08:02:04.364" v="10100" actId="20577"/>
          <ac:spMkLst>
            <pc:docMk/>
            <pc:sldMk cId="1026104641" sldId="2134806359"/>
            <ac:spMk id="9" creationId="{86B5E6EA-EDC5-026A-2E3F-A47544EC16A6}"/>
          </ac:spMkLst>
        </pc:spChg>
        <pc:spChg chg="add mod">
          <ac:chgData name="STEPANCHENKO, D. (Dmitrii)" userId="30c9d29d-ac41-46ff-b2be-c3f5dd1e26e1" providerId="ADAL" clId="{B3A474F3-5485-4A93-8981-1E68ACC9F057}" dt="2023-02-03T12:51:56.833" v="4903" actId="1036"/>
          <ac:spMkLst>
            <pc:docMk/>
            <pc:sldMk cId="1026104641" sldId="2134806359"/>
            <ac:spMk id="10" creationId="{15D9BF7F-4C90-1394-B66E-CBC7251E95C3}"/>
          </ac:spMkLst>
        </pc:spChg>
        <pc:spChg chg="add del mod">
          <ac:chgData name="STEPANCHENKO, D. (Dmitrii)" userId="30c9d29d-ac41-46ff-b2be-c3f5dd1e26e1" providerId="ADAL" clId="{B3A474F3-5485-4A93-8981-1E68ACC9F057}" dt="2023-02-17T09:54:29.602" v="9349" actId="478"/>
          <ac:spMkLst>
            <pc:docMk/>
            <pc:sldMk cId="1026104641" sldId="2134806359"/>
            <ac:spMk id="11" creationId="{C557FDDB-7E16-74F1-CC2E-122FB1FD8878}"/>
          </ac:spMkLst>
        </pc:spChg>
        <pc:spChg chg="add mod">
          <ac:chgData name="STEPANCHENKO, D. (Dmitrii)" userId="30c9d29d-ac41-46ff-b2be-c3f5dd1e26e1" providerId="ADAL" clId="{B3A474F3-5485-4A93-8981-1E68ACC9F057}" dt="2023-03-02T12:28:13.324" v="9957" actId="20577"/>
          <ac:spMkLst>
            <pc:docMk/>
            <pc:sldMk cId="1026104641" sldId="2134806359"/>
            <ac:spMk id="11" creationId="{F8CA33AE-BE73-48C9-B2CE-A49785544FF6}"/>
          </ac:spMkLst>
        </pc:spChg>
        <pc:spChg chg="mod">
          <ac:chgData name="STEPANCHENKO, D. (Dmitrii)" userId="30c9d29d-ac41-46ff-b2be-c3f5dd1e26e1" providerId="ADAL" clId="{B3A474F3-5485-4A93-8981-1E68ACC9F057}" dt="2023-02-03T12:51:56.833" v="4903" actId="1036"/>
          <ac:spMkLst>
            <pc:docMk/>
            <pc:sldMk cId="1026104641" sldId="2134806359"/>
            <ac:spMk id="12" creationId="{691892AB-BFF6-BC66-B9D9-FB8D87BFF529}"/>
          </ac:spMkLst>
        </pc:spChg>
        <pc:spChg chg="add del mod">
          <ac:chgData name="STEPANCHENKO, D. (Dmitrii)" userId="30c9d29d-ac41-46ff-b2be-c3f5dd1e26e1" providerId="ADAL" clId="{B3A474F3-5485-4A93-8981-1E68ACC9F057}" dt="2023-02-17T09:54:29.602" v="9349" actId="478"/>
          <ac:spMkLst>
            <pc:docMk/>
            <pc:sldMk cId="1026104641" sldId="2134806359"/>
            <ac:spMk id="13" creationId="{31AB62AB-F2F6-C2AA-AC8A-58A7DAC081F8}"/>
          </ac:spMkLst>
        </pc:spChg>
        <pc:spChg chg="mod">
          <ac:chgData name="STEPANCHENKO, D. (Dmitrii)" userId="30c9d29d-ac41-46ff-b2be-c3f5dd1e26e1" providerId="ADAL" clId="{B3A474F3-5485-4A93-8981-1E68ACC9F057}" dt="2023-02-03T12:51:56.833" v="4903" actId="1036"/>
          <ac:spMkLst>
            <pc:docMk/>
            <pc:sldMk cId="1026104641" sldId="2134806359"/>
            <ac:spMk id="14" creationId="{892427F7-B666-F565-1832-A2249DB5DE04}"/>
          </ac:spMkLst>
        </pc:spChg>
        <pc:spChg chg="add mod">
          <ac:chgData name="STEPANCHENKO, D. (Dmitrii)" userId="30c9d29d-ac41-46ff-b2be-c3f5dd1e26e1" providerId="ADAL" clId="{B3A474F3-5485-4A93-8981-1E68ACC9F057}" dt="2023-02-17T09:59:30.772" v="9362" actId="208"/>
          <ac:spMkLst>
            <pc:docMk/>
            <pc:sldMk cId="1026104641" sldId="2134806359"/>
            <ac:spMk id="15" creationId="{BA7946A5-20A9-9501-07C3-6D5E55E7CFE9}"/>
          </ac:spMkLst>
        </pc:spChg>
        <pc:spChg chg="mod">
          <ac:chgData name="STEPANCHENKO, D. (Dmitrii)" userId="30c9d29d-ac41-46ff-b2be-c3f5dd1e26e1" providerId="ADAL" clId="{B3A474F3-5485-4A93-8981-1E68ACC9F057}" dt="2023-02-03T12:51:56.833" v="4903" actId="1036"/>
          <ac:spMkLst>
            <pc:docMk/>
            <pc:sldMk cId="1026104641" sldId="2134806359"/>
            <ac:spMk id="16" creationId="{29B69AE6-5A8D-881D-1520-5886524BE4E6}"/>
          </ac:spMkLst>
        </pc:spChg>
        <pc:spChg chg="add mod">
          <ac:chgData name="STEPANCHENKO, D. (Dmitrii)" userId="30c9d29d-ac41-46ff-b2be-c3f5dd1e26e1" providerId="ADAL" clId="{B3A474F3-5485-4A93-8981-1E68ACC9F057}" dt="2023-02-17T09:59:40.338" v="9365" actId="1076"/>
          <ac:spMkLst>
            <pc:docMk/>
            <pc:sldMk cId="1026104641" sldId="2134806359"/>
            <ac:spMk id="17" creationId="{BB8F2405-733F-BC38-E31D-B0B93840A0EE}"/>
          </ac:spMkLst>
        </pc:spChg>
        <pc:spChg chg="mod">
          <ac:chgData name="STEPANCHENKO, D. (Dmitrii)" userId="30c9d29d-ac41-46ff-b2be-c3f5dd1e26e1" providerId="ADAL" clId="{B3A474F3-5485-4A93-8981-1E68ACC9F057}" dt="2023-02-03T12:51:56.833" v="4903" actId="1036"/>
          <ac:spMkLst>
            <pc:docMk/>
            <pc:sldMk cId="1026104641" sldId="2134806359"/>
            <ac:spMk id="18" creationId="{E14D8F62-D3AA-4637-141A-5C770AE711ED}"/>
          </ac:spMkLst>
        </pc:spChg>
        <pc:spChg chg="add del mod">
          <ac:chgData name="STEPANCHENKO, D. (Dmitrii)" userId="30c9d29d-ac41-46ff-b2be-c3f5dd1e26e1" providerId="ADAL" clId="{B3A474F3-5485-4A93-8981-1E68ACC9F057}" dt="2023-02-17T10:00:31.177" v="9368" actId="478"/>
          <ac:spMkLst>
            <pc:docMk/>
            <pc:sldMk cId="1026104641" sldId="2134806359"/>
            <ac:spMk id="19" creationId="{8E5BCF99-7DC6-4CCE-7AE7-9D0CF5159A05}"/>
          </ac:spMkLst>
        </pc:spChg>
        <pc:spChg chg="mod">
          <ac:chgData name="STEPANCHENKO, D. (Dmitrii)" userId="30c9d29d-ac41-46ff-b2be-c3f5dd1e26e1" providerId="ADAL" clId="{B3A474F3-5485-4A93-8981-1E68ACC9F057}" dt="2023-02-03T12:51:56.833" v="4903" actId="1036"/>
          <ac:spMkLst>
            <pc:docMk/>
            <pc:sldMk cId="1026104641" sldId="2134806359"/>
            <ac:spMk id="20" creationId="{425E587E-EABA-2A90-8599-075A84194267}"/>
          </ac:spMkLst>
        </pc:spChg>
        <pc:spChg chg="mod">
          <ac:chgData name="STEPANCHENKO, D. (Dmitrii)" userId="30c9d29d-ac41-46ff-b2be-c3f5dd1e26e1" providerId="ADAL" clId="{B3A474F3-5485-4A93-8981-1E68ACC9F057}" dt="2023-02-03T12:51:56.833" v="4903" actId="1036"/>
          <ac:spMkLst>
            <pc:docMk/>
            <pc:sldMk cId="1026104641" sldId="2134806359"/>
            <ac:spMk id="22" creationId="{DE84A7F2-A254-2278-5354-3E09DB7CC2D8}"/>
          </ac:spMkLst>
        </pc:spChg>
        <pc:spChg chg="del">
          <ac:chgData name="STEPANCHENKO, D. (Dmitrii)" userId="30c9d29d-ac41-46ff-b2be-c3f5dd1e26e1" providerId="ADAL" clId="{B3A474F3-5485-4A93-8981-1E68ACC9F057}" dt="2023-02-02T18:56:05.236" v="1780" actId="478"/>
          <ac:spMkLst>
            <pc:docMk/>
            <pc:sldMk cId="1026104641" sldId="2134806359"/>
            <ac:spMk id="23" creationId="{B9C219CB-3B12-49F7-7DAB-C92AF856AB57}"/>
          </ac:spMkLst>
        </pc:spChg>
        <pc:spChg chg="del">
          <ac:chgData name="STEPANCHENKO, D. (Dmitrii)" userId="30c9d29d-ac41-46ff-b2be-c3f5dd1e26e1" providerId="ADAL" clId="{B3A474F3-5485-4A93-8981-1E68ACC9F057}" dt="2023-02-02T19:02:23.202" v="1811" actId="478"/>
          <ac:spMkLst>
            <pc:docMk/>
            <pc:sldMk cId="1026104641" sldId="2134806359"/>
            <ac:spMk id="24" creationId="{278664A0-ED84-274D-398C-F12996FE0D12}"/>
          </ac:spMkLst>
        </pc:spChg>
        <pc:spChg chg="del">
          <ac:chgData name="STEPANCHENKO, D. (Dmitrii)" userId="30c9d29d-ac41-46ff-b2be-c3f5dd1e26e1" providerId="ADAL" clId="{B3A474F3-5485-4A93-8981-1E68ACC9F057}" dt="2023-02-02T19:08:48.446" v="1972" actId="478"/>
          <ac:spMkLst>
            <pc:docMk/>
            <pc:sldMk cId="1026104641" sldId="2134806359"/>
            <ac:spMk id="25" creationId="{6A813E22-9F77-D0A9-75EC-EF8307D2D778}"/>
          </ac:spMkLst>
        </pc:spChg>
        <pc:spChg chg="del">
          <ac:chgData name="STEPANCHENKO, D. (Dmitrii)" userId="30c9d29d-ac41-46ff-b2be-c3f5dd1e26e1" providerId="ADAL" clId="{B3A474F3-5485-4A93-8981-1E68ACC9F057}" dt="2023-02-02T19:24:36.555" v="2104" actId="478"/>
          <ac:spMkLst>
            <pc:docMk/>
            <pc:sldMk cId="1026104641" sldId="2134806359"/>
            <ac:spMk id="26" creationId="{1680075F-F374-EBC4-9865-0AA52290493C}"/>
          </ac:spMkLst>
        </pc:spChg>
        <pc:spChg chg="del">
          <ac:chgData name="STEPANCHENKO, D. (Dmitrii)" userId="30c9d29d-ac41-46ff-b2be-c3f5dd1e26e1" providerId="ADAL" clId="{B3A474F3-5485-4A93-8981-1E68ACC9F057}" dt="2023-02-02T18:55:57.278" v="1779" actId="478"/>
          <ac:spMkLst>
            <pc:docMk/>
            <pc:sldMk cId="1026104641" sldId="2134806359"/>
            <ac:spMk id="29" creationId="{ABBA29A4-5C4C-010C-EF18-3287C8E4C44C}"/>
          </ac:spMkLst>
        </pc:spChg>
        <pc:spChg chg="del">
          <ac:chgData name="STEPANCHENKO, D. (Dmitrii)" userId="30c9d29d-ac41-46ff-b2be-c3f5dd1e26e1" providerId="ADAL" clId="{B3A474F3-5485-4A93-8981-1E68ACC9F057}" dt="2023-02-02T18:55:57.278" v="1779" actId="478"/>
          <ac:spMkLst>
            <pc:docMk/>
            <pc:sldMk cId="1026104641" sldId="2134806359"/>
            <ac:spMk id="30" creationId="{8EB843D7-79FA-09D3-5E96-29A330ABCE5F}"/>
          </ac:spMkLst>
        </pc:spChg>
        <pc:spChg chg="del">
          <ac:chgData name="STEPANCHENKO, D. (Dmitrii)" userId="30c9d29d-ac41-46ff-b2be-c3f5dd1e26e1" providerId="ADAL" clId="{B3A474F3-5485-4A93-8981-1E68ACC9F057}" dt="2023-02-02T18:55:57.278" v="1779" actId="478"/>
          <ac:spMkLst>
            <pc:docMk/>
            <pc:sldMk cId="1026104641" sldId="2134806359"/>
            <ac:spMk id="31" creationId="{197F8707-951D-0631-A66C-94FDB1F10A24}"/>
          </ac:spMkLst>
        </pc:spChg>
        <pc:spChg chg="del">
          <ac:chgData name="STEPANCHENKO, D. (Dmitrii)" userId="30c9d29d-ac41-46ff-b2be-c3f5dd1e26e1" providerId="ADAL" clId="{B3A474F3-5485-4A93-8981-1E68ACC9F057}" dt="2023-02-02T18:55:57.278" v="1779" actId="478"/>
          <ac:spMkLst>
            <pc:docMk/>
            <pc:sldMk cId="1026104641" sldId="2134806359"/>
            <ac:spMk id="32" creationId="{5F1045F2-C4DF-54A7-F2C2-7FD7EDEC2008}"/>
          </ac:spMkLst>
        </pc:spChg>
        <pc:spChg chg="del">
          <ac:chgData name="STEPANCHENKO, D. (Dmitrii)" userId="30c9d29d-ac41-46ff-b2be-c3f5dd1e26e1" providerId="ADAL" clId="{B3A474F3-5485-4A93-8981-1E68ACC9F057}" dt="2023-02-02T19:24:36.555" v="2104" actId="478"/>
          <ac:spMkLst>
            <pc:docMk/>
            <pc:sldMk cId="1026104641" sldId="2134806359"/>
            <ac:spMk id="33" creationId="{E20DFE2A-A534-8736-0B3A-8330307F0667}"/>
          </ac:spMkLst>
        </pc:spChg>
        <pc:spChg chg="mod">
          <ac:chgData name="STEPANCHENKO, D. (Dmitrii)" userId="30c9d29d-ac41-46ff-b2be-c3f5dd1e26e1" providerId="ADAL" clId="{B3A474F3-5485-4A93-8981-1E68ACC9F057}" dt="2023-02-03T12:51:56.833" v="4903" actId="1036"/>
          <ac:spMkLst>
            <pc:docMk/>
            <pc:sldMk cId="1026104641" sldId="2134806359"/>
            <ac:spMk id="36" creationId="{3E079531-13A5-4892-6DAC-CD5F6C9A3AAF}"/>
          </ac:spMkLst>
        </pc:spChg>
        <pc:spChg chg="mod">
          <ac:chgData name="STEPANCHENKO, D. (Dmitrii)" userId="30c9d29d-ac41-46ff-b2be-c3f5dd1e26e1" providerId="ADAL" clId="{B3A474F3-5485-4A93-8981-1E68ACC9F057}" dt="2023-03-04T08:08:01.795" v="10112" actId="20577"/>
          <ac:spMkLst>
            <pc:docMk/>
            <pc:sldMk cId="1026104641" sldId="2134806359"/>
            <ac:spMk id="38" creationId="{85E8FE80-1AA6-51F6-2B6B-4D8C670CE255}"/>
          </ac:spMkLst>
        </pc:spChg>
        <pc:spChg chg="mod">
          <ac:chgData name="STEPANCHENKO, D. (Dmitrii)" userId="30c9d29d-ac41-46ff-b2be-c3f5dd1e26e1" providerId="ADAL" clId="{B3A474F3-5485-4A93-8981-1E68ACC9F057}" dt="2023-02-03T12:51:56.833" v="4903" actId="1036"/>
          <ac:spMkLst>
            <pc:docMk/>
            <pc:sldMk cId="1026104641" sldId="2134806359"/>
            <ac:spMk id="40" creationId="{77785C50-DCEE-C328-E96C-84E2081D6FB3}"/>
          </ac:spMkLst>
        </pc:spChg>
        <pc:spChg chg="mod">
          <ac:chgData name="STEPANCHENKO, D. (Dmitrii)" userId="30c9d29d-ac41-46ff-b2be-c3f5dd1e26e1" providerId="ADAL" clId="{B3A474F3-5485-4A93-8981-1E68ACC9F057}" dt="2023-03-02T12:26:05.684" v="9797" actId="1076"/>
          <ac:spMkLst>
            <pc:docMk/>
            <pc:sldMk cId="1026104641" sldId="2134806359"/>
            <ac:spMk id="42" creationId="{9A5F33B5-7715-4CB3-AED9-AC01FA407A85}"/>
          </ac:spMkLst>
        </pc:spChg>
        <pc:spChg chg="del">
          <ac:chgData name="STEPANCHENKO, D. (Dmitrii)" userId="30c9d29d-ac41-46ff-b2be-c3f5dd1e26e1" providerId="ADAL" clId="{B3A474F3-5485-4A93-8981-1E68ACC9F057}" dt="2023-02-02T19:24:29.111" v="2103" actId="478"/>
          <ac:spMkLst>
            <pc:docMk/>
            <pc:sldMk cId="1026104641" sldId="2134806359"/>
            <ac:spMk id="47" creationId="{BE19C3B8-7E90-3936-7226-7B0303AADC99}"/>
          </ac:spMkLst>
        </pc:spChg>
        <pc:spChg chg="del">
          <ac:chgData name="STEPANCHENKO, D. (Dmitrii)" userId="30c9d29d-ac41-46ff-b2be-c3f5dd1e26e1" providerId="ADAL" clId="{B3A474F3-5485-4A93-8981-1E68ACC9F057}" dt="2023-02-02T19:24:29.111" v="2103" actId="478"/>
          <ac:spMkLst>
            <pc:docMk/>
            <pc:sldMk cId="1026104641" sldId="2134806359"/>
            <ac:spMk id="48" creationId="{177A5F38-9739-C6B0-976C-302CF43A2AA8}"/>
          </ac:spMkLst>
        </pc:spChg>
        <pc:picChg chg="del">
          <ac:chgData name="STEPANCHENKO, D. (Dmitrii)" userId="30c9d29d-ac41-46ff-b2be-c3f5dd1e26e1" providerId="ADAL" clId="{B3A474F3-5485-4A93-8981-1E68ACC9F057}" dt="2023-02-02T18:55:57.278" v="1779" actId="478"/>
          <ac:picMkLst>
            <pc:docMk/>
            <pc:sldMk cId="1026104641" sldId="2134806359"/>
            <ac:picMk id="28" creationId="{6C793684-DA0C-5D7D-3C6B-393111001F18}"/>
          </ac:picMkLst>
        </pc:picChg>
        <pc:cxnChg chg="add mod">
          <ac:chgData name="STEPANCHENKO, D. (Dmitrii)" userId="30c9d29d-ac41-46ff-b2be-c3f5dd1e26e1" providerId="ADAL" clId="{B3A474F3-5485-4A93-8981-1E68ACC9F057}" dt="2023-03-02T12:26:14.590" v="9799" actId="1076"/>
          <ac:cxnSpMkLst>
            <pc:docMk/>
            <pc:sldMk cId="1026104641" sldId="2134806359"/>
            <ac:cxnSpMk id="13" creationId="{C31B274A-81D2-D285-1FEB-71B466B6B25C}"/>
          </ac:cxnSpMkLst>
        </pc:cxnChg>
        <pc:cxnChg chg="mod">
          <ac:chgData name="STEPANCHENKO, D. (Dmitrii)" userId="30c9d29d-ac41-46ff-b2be-c3f5dd1e26e1" providerId="ADAL" clId="{B3A474F3-5485-4A93-8981-1E68ACC9F057}" dt="2023-02-03T12:51:56.833" v="4903" actId="1036"/>
          <ac:cxnSpMkLst>
            <pc:docMk/>
            <pc:sldMk cId="1026104641" sldId="2134806359"/>
            <ac:cxnSpMk id="35" creationId="{E6FE4E7D-1D34-B95E-A499-1861ECA8B294}"/>
          </ac:cxnSpMkLst>
        </pc:cxnChg>
        <pc:cxnChg chg="mod">
          <ac:chgData name="STEPANCHENKO, D. (Dmitrii)" userId="30c9d29d-ac41-46ff-b2be-c3f5dd1e26e1" providerId="ADAL" clId="{B3A474F3-5485-4A93-8981-1E68ACC9F057}" dt="2023-02-03T12:51:56.833" v="4903" actId="1036"/>
          <ac:cxnSpMkLst>
            <pc:docMk/>
            <pc:sldMk cId="1026104641" sldId="2134806359"/>
            <ac:cxnSpMk id="43" creationId="{A4CC6D6F-42B4-BD32-F214-CE2EE686726D}"/>
          </ac:cxnSpMkLst>
        </pc:cxnChg>
        <pc:cxnChg chg="mod">
          <ac:chgData name="STEPANCHENKO, D. (Dmitrii)" userId="30c9d29d-ac41-46ff-b2be-c3f5dd1e26e1" providerId="ADAL" clId="{B3A474F3-5485-4A93-8981-1E68ACC9F057}" dt="2023-02-03T12:51:56.833" v="4903" actId="1036"/>
          <ac:cxnSpMkLst>
            <pc:docMk/>
            <pc:sldMk cId="1026104641" sldId="2134806359"/>
            <ac:cxnSpMk id="44" creationId="{9B819088-06E2-B36B-65EB-7AB4F412E117}"/>
          </ac:cxnSpMkLst>
        </pc:cxnChg>
        <pc:cxnChg chg="mod">
          <ac:chgData name="STEPANCHENKO, D. (Dmitrii)" userId="30c9d29d-ac41-46ff-b2be-c3f5dd1e26e1" providerId="ADAL" clId="{B3A474F3-5485-4A93-8981-1E68ACC9F057}" dt="2023-02-03T12:51:56.833" v="4903" actId="1036"/>
          <ac:cxnSpMkLst>
            <pc:docMk/>
            <pc:sldMk cId="1026104641" sldId="2134806359"/>
            <ac:cxnSpMk id="45" creationId="{0DCA9C1F-E974-524B-108F-888416170AD1}"/>
          </ac:cxnSpMkLst>
        </pc:cxnChg>
      </pc:sldChg>
      <pc:sldChg chg="addSp delSp modSp add mod ord modAnim">
        <pc:chgData name="STEPANCHENKO, D. (Dmitrii)" userId="30c9d29d-ac41-46ff-b2be-c3f5dd1e26e1" providerId="ADAL" clId="{B3A474F3-5485-4A93-8981-1E68ACC9F057}" dt="2023-03-05T09:38:16.361" v="10161" actId="20577"/>
        <pc:sldMkLst>
          <pc:docMk/>
          <pc:sldMk cId="3050701029" sldId="2134806360"/>
        </pc:sldMkLst>
        <pc:spChg chg="add mod">
          <ac:chgData name="STEPANCHENKO, D. (Dmitrii)" userId="30c9d29d-ac41-46ff-b2be-c3f5dd1e26e1" providerId="ADAL" clId="{B3A474F3-5485-4A93-8981-1E68ACC9F057}" dt="2023-03-02T12:01:40.158" v="9675" actId="14100"/>
          <ac:spMkLst>
            <pc:docMk/>
            <pc:sldMk cId="3050701029" sldId="2134806360"/>
            <ac:spMk id="3" creationId="{799FEC2B-CF67-AFD4-D2C1-5FEB03E68CCB}"/>
          </ac:spMkLst>
        </pc:spChg>
        <pc:spChg chg="mod">
          <ac:chgData name="STEPANCHENKO, D. (Dmitrii)" userId="30c9d29d-ac41-46ff-b2be-c3f5dd1e26e1" providerId="ADAL" clId="{B3A474F3-5485-4A93-8981-1E68ACC9F057}" dt="2023-02-03T09:34:34.125" v="3517" actId="20577"/>
          <ac:spMkLst>
            <pc:docMk/>
            <pc:sldMk cId="3050701029" sldId="2134806360"/>
            <ac:spMk id="5" creationId="{81BD1123-3626-1C45-BF5B-1C1864FA8AFA}"/>
          </ac:spMkLst>
        </pc:spChg>
        <pc:spChg chg="add mod ord">
          <ac:chgData name="STEPANCHENKO, D. (Dmitrii)" userId="30c9d29d-ac41-46ff-b2be-c3f5dd1e26e1" providerId="ADAL" clId="{B3A474F3-5485-4A93-8981-1E68ACC9F057}" dt="2023-02-03T13:13:11.739" v="4997" actId="1035"/>
          <ac:spMkLst>
            <pc:docMk/>
            <pc:sldMk cId="3050701029" sldId="2134806360"/>
            <ac:spMk id="7" creationId="{CB537DF0-2C56-FAB1-4735-FE84E6143B55}"/>
          </ac:spMkLst>
        </pc:spChg>
        <pc:spChg chg="add mod ord">
          <ac:chgData name="STEPANCHENKO, D. (Dmitrii)" userId="30c9d29d-ac41-46ff-b2be-c3f5dd1e26e1" providerId="ADAL" clId="{B3A474F3-5485-4A93-8981-1E68ACC9F057}" dt="2023-02-03T13:13:11.739" v="4997" actId="1035"/>
          <ac:spMkLst>
            <pc:docMk/>
            <pc:sldMk cId="3050701029" sldId="2134806360"/>
            <ac:spMk id="8" creationId="{72EA6943-2A64-55C9-8B2E-AEB90109CCCB}"/>
          </ac:spMkLst>
        </pc:spChg>
        <pc:spChg chg="add mod">
          <ac:chgData name="STEPANCHENKO, D. (Dmitrii)" userId="30c9d29d-ac41-46ff-b2be-c3f5dd1e26e1" providerId="ADAL" clId="{B3A474F3-5485-4A93-8981-1E68ACC9F057}" dt="2023-02-03T13:13:11.739" v="4997" actId="1035"/>
          <ac:spMkLst>
            <pc:docMk/>
            <pc:sldMk cId="3050701029" sldId="2134806360"/>
            <ac:spMk id="9" creationId="{DB2F9749-4F12-033E-0E64-F0FAA3D570BE}"/>
          </ac:spMkLst>
        </pc:spChg>
        <pc:spChg chg="add mod">
          <ac:chgData name="STEPANCHENKO, D. (Dmitrii)" userId="30c9d29d-ac41-46ff-b2be-c3f5dd1e26e1" providerId="ADAL" clId="{B3A474F3-5485-4A93-8981-1E68ACC9F057}" dt="2023-02-03T13:13:11.739" v="4997" actId="1035"/>
          <ac:spMkLst>
            <pc:docMk/>
            <pc:sldMk cId="3050701029" sldId="2134806360"/>
            <ac:spMk id="10" creationId="{5D576874-2D00-2366-A04F-0F3F042ADD75}"/>
          </ac:spMkLst>
        </pc:spChg>
        <pc:spChg chg="add mod">
          <ac:chgData name="STEPANCHENKO, D. (Dmitrii)" userId="30c9d29d-ac41-46ff-b2be-c3f5dd1e26e1" providerId="ADAL" clId="{B3A474F3-5485-4A93-8981-1E68ACC9F057}" dt="2023-02-03T13:13:11.739" v="4997" actId="1035"/>
          <ac:spMkLst>
            <pc:docMk/>
            <pc:sldMk cId="3050701029" sldId="2134806360"/>
            <ac:spMk id="11" creationId="{8504C119-BEA9-524C-1022-727C4AE30907}"/>
          </ac:spMkLst>
        </pc:spChg>
        <pc:spChg chg="add mod">
          <ac:chgData name="STEPANCHENKO, D. (Dmitrii)" userId="30c9d29d-ac41-46ff-b2be-c3f5dd1e26e1" providerId="ADAL" clId="{B3A474F3-5485-4A93-8981-1E68ACC9F057}" dt="2023-02-03T13:13:11.739" v="4997" actId="1035"/>
          <ac:spMkLst>
            <pc:docMk/>
            <pc:sldMk cId="3050701029" sldId="2134806360"/>
            <ac:spMk id="12" creationId="{47F2669B-94AC-24C6-A408-E70BDDD2ED3A}"/>
          </ac:spMkLst>
        </pc:spChg>
        <pc:spChg chg="add mod">
          <ac:chgData name="STEPANCHENKO, D. (Dmitrii)" userId="30c9d29d-ac41-46ff-b2be-c3f5dd1e26e1" providerId="ADAL" clId="{B3A474F3-5485-4A93-8981-1E68ACC9F057}" dt="2023-03-02T12:01:13.128" v="9670" actId="1076"/>
          <ac:spMkLst>
            <pc:docMk/>
            <pc:sldMk cId="3050701029" sldId="2134806360"/>
            <ac:spMk id="13" creationId="{5D58D87C-1A2A-7499-C081-34D5F8E8C488}"/>
          </ac:spMkLst>
        </pc:spChg>
        <pc:spChg chg="add mod">
          <ac:chgData name="STEPANCHENKO, D. (Dmitrii)" userId="30c9d29d-ac41-46ff-b2be-c3f5dd1e26e1" providerId="ADAL" clId="{B3A474F3-5485-4A93-8981-1E68ACC9F057}" dt="2023-03-05T09:38:16.361" v="10161" actId="20577"/>
          <ac:spMkLst>
            <pc:docMk/>
            <pc:sldMk cId="3050701029" sldId="2134806360"/>
            <ac:spMk id="16" creationId="{78C475F6-4FB8-CD0D-9D36-50D2F655CF94}"/>
          </ac:spMkLst>
        </pc:spChg>
        <pc:graphicFrameChg chg="add del mod">
          <ac:chgData name="STEPANCHENKO, D. (Dmitrii)" userId="30c9d29d-ac41-46ff-b2be-c3f5dd1e26e1" providerId="ADAL" clId="{B3A474F3-5485-4A93-8981-1E68ACC9F057}" dt="2023-02-03T09:46:36.885" v="3534" actId="478"/>
          <ac:graphicFrameMkLst>
            <pc:docMk/>
            <pc:sldMk cId="3050701029" sldId="2134806360"/>
            <ac:graphicFrameMk id="4" creationId="{FB8C3C90-E4E7-5104-1963-E01B545F4080}"/>
          </ac:graphicFrameMkLst>
        </pc:graphicFrameChg>
        <pc:graphicFrameChg chg="add mod">
          <ac:chgData name="STEPANCHENKO, D. (Dmitrii)" userId="30c9d29d-ac41-46ff-b2be-c3f5dd1e26e1" providerId="ADAL" clId="{B3A474F3-5485-4A93-8981-1E68ACC9F057}" dt="2023-02-03T13:13:11.739" v="4997" actId="1035"/>
          <ac:graphicFrameMkLst>
            <pc:docMk/>
            <pc:sldMk cId="3050701029" sldId="2134806360"/>
            <ac:graphicFrameMk id="6" creationId="{FB8C3C90-E4E7-5104-1963-E01B545F4080}"/>
          </ac:graphicFrameMkLst>
        </pc:graphicFrameChg>
        <pc:picChg chg="add mod">
          <ac:chgData name="STEPANCHENKO, D. (Dmitrii)" userId="30c9d29d-ac41-46ff-b2be-c3f5dd1e26e1" providerId="ADAL" clId="{B3A474F3-5485-4A93-8981-1E68ACC9F057}" dt="2023-03-02T12:02:37.108" v="9682" actId="14100"/>
          <ac:picMkLst>
            <pc:docMk/>
            <pc:sldMk cId="3050701029" sldId="2134806360"/>
            <ac:picMk id="4" creationId="{9C6A06DA-CE01-6B3F-13C2-F4C175FDF3AA}"/>
          </ac:picMkLst>
        </pc:picChg>
        <pc:picChg chg="add mod">
          <ac:chgData name="STEPANCHENKO, D. (Dmitrii)" userId="30c9d29d-ac41-46ff-b2be-c3f5dd1e26e1" providerId="ADAL" clId="{B3A474F3-5485-4A93-8981-1E68ACC9F057}" dt="2023-03-02T12:01:44.263" v="9677" actId="14100"/>
          <ac:picMkLst>
            <pc:docMk/>
            <pc:sldMk cId="3050701029" sldId="2134806360"/>
            <ac:picMk id="15" creationId="{C90AD324-2A4D-D37E-352B-BFA5715A5DF7}"/>
          </ac:picMkLst>
        </pc:picChg>
      </pc:sldChg>
      <pc:sldChg chg="addSp delSp modSp add mod">
        <pc:chgData name="STEPANCHENKO, D. (Dmitrii)" userId="30c9d29d-ac41-46ff-b2be-c3f5dd1e26e1" providerId="ADAL" clId="{B3A474F3-5485-4A93-8981-1E68ACC9F057}" dt="2023-02-17T09:42:57.913" v="9336" actId="20577"/>
        <pc:sldMkLst>
          <pc:docMk/>
          <pc:sldMk cId="150677344" sldId="2134806361"/>
        </pc:sldMkLst>
        <pc:spChg chg="add mod">
          <ac:chgData name="STEPANCHENKO, D. (Dmitrii)" userId="30c9d29d-ac41-46ff-b2be-c3f5dd1e26e1" providerId="ADAL" clId="{B3A474F3-5485-4A93-8981-1E68ACC9F057}" dt="2023-02-17T09:42:57.913" v="9336" actId="20577"/>
          <ac:spMkLst>
            <pc:docMk/>
            <pc:sldMk cId="150677344" sldId="2134806361"/>
            <ac:spMk id="4" creationId="{F3FC11F7-4389-FD87-68D7-2BA322BB672C}"/>
          </ac:spMkLst>
        </pc:spChg>
        <pc:spChg chg="mod">
          <ac:chgData name="STEPANCHENKO, D. (Dmitrii)" userId="30c9d29d-ac41-46ff-b2be-c3f5dd1e26e1" providerId="ADAL" clId="{B3A474F3-5485-4A93-8981-1E68ACC9F057}" dt="2023-02-03T13:18:46.820" v="5165" actId="14100"/>
          <ac:spMkLst>
            <pc:docMk/>
            <pc:sldMk cId="150677344" sldId="2134806361"/>
            <ac:spMk id="5" creationId="{81BD1123-3626-1C45-BF5B-1C1864FA8AFA}"/>
          </ac:spMkLst>
        </pc:spChg>
        <pc:spChg chg="add mod">
          <ac:chgData name="STEPANCHENKO, D. (Dmitrii)" userId="30c9d29d-ac41-46ff-b2be-c3f5dd1e26e1" providerId="ADAL" clId="{B3A474F3-5485-4A93-8981-1E68ACC9F057}" dt="2023-02-04T11:01:46.470" v="5785" actId="207"/>
          <ac:spMkLst>
            <pc:docMk/>
            <pc:sldMk cId="150677344" sldId="2134806361"/>
            <ac:spMk id="8" creationId="{CED36A94-2A1B-92BF-60BC-84B5F178D9B3}"/>
          </ac:spMkLst>
        </pc:spChg>
        <pc:spChg chg="add mod">
          <ac:chgData name="STEPANCHENKO, D. (Dmitrii)" userId="30c9d29d-ac41-46ff-b2be-c3f5dd1e26e1" providerId="ADAL" clId="{B3A474F3-5485-4A93-8981-1E68ACC9F057}" dt="2023-02-04T11:03:23.101" v="5842" actId="207"/>
          <ac:spMkLst>
            <pc:docMk/>
            <pc:sldMk cId="150677344" sldId="2134806361"/>
            <ac:spMk id="9" creationId="{AE8F7173-697A-28B5-0FD7-C04595058490}"/>
          </ac:spMkLst>
        </pc:spChg>
        <pc:spChg chg="add mod">
          <ac:chgData name="STEPANCHENKO, D. (Dmitrii)" userId="30c9d29d-ac41-46ff-b2be-c3f5dd1e26e1" providerId="ADAL" clId="{B3A474F3-5485-4A93-8981-1E68ACC9F057}" dt="2023-02-04T11:03:23.101" v="5842" actId="207"/>
          <ac:spMkLst>
            <pc:docMk/>
            <pc:sldMk cId="150677344" sldId="2134806361"/>
            <ac:spMk id="10" creationId="{F91D739C-F102-6C96-6AE6-8BE3084D218D}"/>
          </ac:spMkLst>
        </pc:spChg>
        <pc:spChg chg="add mod">
          <ac:chgData name="STEPANCHENKO, D. (Dmitrii)" userId="30c9d29d-ac41-46ff-b2be-c3f5dd1e26e1" providerId="ADAL" clId="{B3A474F3-5485-4A93-8981-1E68ACC9F057}" dt="2023-02-04T11:03:36.439" v="5847" actId="1076"/>
          <ac:spMkLst>
            <pc:docMk/>
            <pc:sldMk cId="150677344" sldId="2134806361"/>
            <ac:spMk id="11" creationId="{01B06DAC-BDA3-BBB7-A725-79AEDDD08B87}"/>
          </ac:spMkLst>
        </pc:spChg>
        <pc:spChg chg="add mod">
          <ac:chgData name="STEPANCHENKO, D. (Dmitrii)" userId="30c9d29d-ac41-46ff-b2be-c3f5dd1e26e1" providerId="ADAL" clId="{B3A474F3-5485-4A93-8981-1E68ACC9F057}" dt="2023-02-04T11:03:46.846" v="5850" actId="1076"/>
          <ac:spMkLst>
            <pc:docMk/>
            <pc:sldMk cId="150677344" sldId="2134806361"/>
            <ac:spMk id="12" creationId="{A5AC931C-5E67-9EE3-62BE-F570BEF88F37}"/>
          </ac:spMkLst>
        </pc:spChg>
        <pc:graphicFrameChg chg="add del mod">
          <ac:chgData name="STEPANCHENKO, D. (Dmitrii)" userId="30c9d29d-ac41-46ff-b2be-c3f5dd1e26e1" providerId="ADAL" clId="{B3A474F3-5485-4A93-8981-1E68ACC9F057}" dt="2023-02-04T10:59:57.519" v="5722" actId="478"/>
          <ac:graphicFrameMkLst>
            <pc:docMk/>
            <pc:sldMk cId="150677344" sldId="2134806361"/>
            <ac:graphicFrameMk id="3" creationId="{C8C5817E-D605-A8B6-72E4-90CB4A721C54}"/>
          </ac:graphicFrameMkLst>
        </pc:graphicFrameChg>
        <pc:picChg chg="add mod">
          <ac:chgData name="STEPANCHENKO, D. (Dmitrii)" userId="30c9d29d-ac41-46ff-b2be-c3f5dd1e26e1" providerId="ADAL" clId="{B3A474F3-5485-4A93-8981-1E68ACC9F057}" dt="2023-02-04T11:03:31.649" v="5845" actId="1076"/>
          <ac:picMkLst>
            <pc:docMk/>
            <pc:sldMk cId="150677344" sldId="2134806361"/>
            <ac:picMk id="7" creationId="{C3CD989C-9B31-5294-1A74-BF5F573C47DA}"/>
          </ac:picMkLst>
        </pc:picChg>
      </pc:sldChg>
      <pc:sldChg chg="addSp delSp modSp add mod">
        <pc:chgData name="STEPANCHENKO, D. (Dmitrii)" userId="30c9d29d-ac41-46ff-b2be-c3f5dd1e26e1" providerId="ADAL" clId="{B3A474F3-5485-4A93-8981-1E68ACC9F057}" dt="2023-02-05T10:16:36.824" v="7011" actId="27918"/>
        <pc:sldMkLst>
          <pc:docMk/>
          <pc:sldMk cId="2024875999" sldId="2134806362"/>
        </pc:sldMkLst>
        <pc:spChg chg="mod">
          <ac:chgData name="STEPANCHENKO, D. (Dmitrii)" userId="30c9d29d-ac41-46ff-b2be-c3f5dd1e26e1" providerId="ADAL" clId="{B3A474F3-5485-4A93-8981-1E68ACC9F057}" dt="2023-02-03T13:19:26.985" v="5186"/>
          <ac:spMkLst>
            <pc:docMk/>
            <pc:sldMk cId="2024875999" sldId="2134806362"/>
            <ac:spMk id="5" creationId="{81BD1123-3626-1C45-BF5B-1C1864FA8AFA}"/>
          </ac:spMkLst>
        </pc:spChg>
        <pc:spChg chg="add mod">
          <ac:chgData name="STEPANCHENKO, D. (Dmitrii)" userId="30c9d29d-ac41-46ff-b2be-c3f5dd1e26e1" providerId="ADAL" clId="{B3A474F3-5485-4A93-8981-1E68ACC9F057}" dt="2023-02-05T08:14:37.054" v="6756" actId="1035"/>
          <ac:spMkLst>
            <pc:docMk/>
            <pc:sldMk cId="2024875999" sldId="2134806362"/>
            <ac:spMk id="6" creationId="{C48FDFFD-03A4-C48E-D28F-C9FED01E1D5A}"/>
          </ac:spMkLst>
        </pc:spChg>
        <pc:spChg chg="add del mod">
          <ac:chgData name="STEPANCHENKO, D. (Dmitrii)" userId="30c9d29d-ac41-46ff-b2be-c3f5dd1e26e1" providerId="ADAL" clId="{B3A474F3-5485-4A93-8981-1E68ACC9F057}" dt="2023-02-05T08:09:08.510" v="6343"/>
          <ac:spMkLst>
            <pc:docMk/>
            <pc:sldMk cId="2024875999" sldId="2134806362"/>
            <ac:spMk id="7" creationId="{5FB9D2DD-F96B-1C57-4514-145EFE75E33C}"/>
          </ac:spMkLst>
        </pc:spChg>
        <pc:spChg chg="add mod">
          <ac:chgData name="STEPANCHENKO, D. (Dmitrii)" userId="30c9d29d-ac41-46ff-b2be-c3f5dd1e26e1" providerId="ADAL" clId="{B3A474F3-5485-4A93-8981-1E68ACC9F057}" dt="2023-02-05T08:09:50.417" v="6367" actId="1076"/>
          <ac:spMkLst>
            <pc:docMk/>
            <pc:sldMk cId="2024875999" sldId="2134806362"/>
            <ac:spMk id="8" creationId="{935A407E-9175-D469-AD30-CD99AA0B5470}"/>
          </ac:spMkLst>
        </pc:spChg>
        <pc:graphicFrameChg chg="add del mod">
          <ac:chgData name="STEPANCHENKO, D. (Dmitrii)" userId="30c9d29d-ac41-46ff-b2be-c3f5dd1e26e1" providerId="ADAL" clId="{B3A474F3-5485-4A93-8981-1E68ACC9F057}" dt="2023-02-05T08:00:10.913" v="6086" actId="478"/>
          <ac:graphicFrameMkLst>
            <pc:docMk/>
            <pc:sldMk cId="2024875999" sldId="2134806362"/>
            <ac:graphicFrameMk id="3" creationId="{C8C5817E-D605-A8B6-72E4-90CB4A721C54}"/>
          </ac:graphicFrameMkLst>
        </pc:graphicFrameChg>
        <pc:graphicFrameChg chg="add mod">
          <ac:chgData name="STEPANCHENKO, D. (Dmitrii)" userId="30c9d29d-ac41-46ff-b2be-c3f5dd1e26e1" providerId="ADAL" clId="{B3A474F3-5485-4A93-8981-1E68ACC9F057}" dt="2023-02-05T08:09:15.673" v="6346"/>
          <ac:graphicFrameMkLst>
            <pc:docMk/>
            <pc:sldMk cId="2024875999" sldId="2134806362"/>
            <ac:graphicFrameMk id="4" creationId="{C8C5817E-D605-A8B6-72E4-90CB4A721C54}"/>
          </ac:graphicFrameMkLst>
        </pc:graphicFrameChg>
        <pc:cxnChg chg="add mod">
          <ac:chgData name="STEPANCHENKO, D. (Dmitrii)" userId="30c9d29d-ac41-46ff-b2be-c3f5dd1e26e1" providerId="ADAL" clId="{B3A474F3-5485-4A93-8981-1E68ACC9F057}" dt="2023-02-05T08:10:05.170" v="6369" actId="208"/>
          <ac:cxnSpMkLst>
            <pc:docMk/>
            <pc:sldMk cId="2024875999" sldId="2134806362"/>
            <ac:cxnSpMk id="10" creationId="{003A6042-C5DD-45C7-9C1D-DB54A46D95DC}"/>
          </ac:cxnSpMkLst>
        </pc:cxnChg>
      </pc:sldChg>
      <pc:sldChg chg="modSp add mod modShow">
        <pc:chgData name="STEPANCHENKO, D. (Dmitrii)" userId="30c9d29d-ac41-46ff-b2be-c3f5dd1e26e1" providerId="ADAL" clId="{B3A474F3-5485-4A93-8981-1E68ACC9F057}" dt="2023-02-05T08:17:14.549" v="6757" actId="729"/>
        <pc:sldMkLst>
          <pc:docMk/>
          <pc:sldMk cId="1030256302" sldId="2134806363"/>
        </pc:sldMkLst>
        <pc:spChg chg="mod">
          <ac:chgData name="STEPANCHENKO, D. (Dmitrii)" userId="30c9d29d-ac41-46ff-b2be-c3f5dd1e26e1" providerId="ADAL" clId="{B3A474F3-5485-4A93-8981-1E68ACC9F057}" dt="2023-02-03T13:21:56.919" v="5299" actId="20577"/>
          <ac:spMkLst>
            <pc:docMk/>
            <pc:sldMk cId="1030256302" sldId="2134806363"/>
            <ac:spMk id="5" creationId="{81BD1123-3626-1C45-BF5B-1C1864FA8AFA}"/>
          </ac:spMkLst>
        </pc:spChg>
      </pc:sldChg>
      <pc:sldChg chg="addSp delSp modSp add mod modAnim">
        <pc:chgData name="STEPANCHENKO, D. (Dmitrii)" userId="30c9d29d-ac41-46ff-b2be-c3f5dd1e26e1" providerId="ADAL" clId="{B3A474F3-5485-4A93-8981-1E68ACC9F057}" dt="2023-03-04T08:04:15.712" v="10101" actId="167"/>
        <pc:sldMkLst>
          <pc:docMk/>
          <pc:sldMk cId="2170462522" sldId="2134806364"/>
        </pc:sldMkLst>
        <pc:spChg chg="mod">
          <ac:chgData name="STEPANCHENKO, D. (Dmitrii)" userId="30c9d29d-ac41-46ff-b2be-c3f5dd1e26e1" providerId="ADAL" clId="{B3A474F3-5485-4A93-8981-1E68ACC9F057}" dt="2023-02-05T08:17:17.975" v="6759" actId="20577"/>
          <ac:spMkLst>
            <pc:docMk/>
            <pc:sldMk cId="2170462522" sldId="2134806364"/>
            <ac:spMk id="5" creationId="{81BD1123-3626-1C45-BF5B-1C1864FA8AFA}"/>
          </ac:spMkLst>
        </pc:spChg>
        <pc:spChg chg="add mod">
          <ac:chgData name="STEPANCHENKO, D. (Dmitrii)" userId="30c9d29d-ac41-46ff-b2be-c3f5dd1e26e1" providerId="ADAL" clId="{B3A474F3-5485-4A93-8981-1E68ACC9F057}" dt="2023-02-05T10:18:49.185" v="7097" actId="1076"/>
          <ac:spMkLst>
            <pc:docMk/>
            <pc:sldMk cId="2170462522" sldId="2134806364"/>
            <ac:spMk id="10" creationId="{820D784B-9292-94A1-2B7A-CC4506C2A2C5}"/>
          </ac:spMkLst>
        </pc:spChg>
        <pc:graphicFrameChg chg="add del mod">
          <ac:chgData name="STEPANCHENKO, D. (Dmitrii)" userId="30c9d29d-ac41-46ff-b2be-c3f5dd1e26e1" providerId="ADAL" clId="{B3A474F3-5485-4A93-8981-1E68ACC9F057}" dt="2023-02-05T10:04:45.997" v="6899" actId="478"/>
          <ac:graphicFrameMkLst>
            <pc:docMk/>
            <pc:sldMk cId="2170462522" sldId="2134806364"/>
            <ac:graphicFrameMk id="3" creationId="{15E1DE83-14A9-C65B-2B64-C0B1C480F5F0}"/>
          </ac:graphicFrameMkLst>
        </pc:graphicFrameChg>
        <pc:graphicFrameChg chg="add mod">
          <ac:chgData name="STEPANCHENKO, D. (Dmitrii)" userId="30c9d29d-ac41-46ff-b2be-c3f5dd1e26e1" providerId="ADAL" clId="{B3A474F3-5485-4A93-8981-1E68ACC9F057}" dt="2023-03-04T08:04:15.712" v="10101" actId="167"/>
          <ac:graphicFrameMkLst>
            <pc:docMk/>
            <pc:sldMk cId="2170462522" sldId="2134806364"/>
            <ac:graphicFrameMk id="3" creationId="{83B86BEB-0E7F-C17B-B683-00826E35808E}"/>
          </ac:graphicFrameMkLst>
        </pc:graphicFrameChg>
        <pc:graphicFrameChg chg="add mod">
          <ac:chgData name="STEPANCHENKO, D. (Dmitrii)" userId="30c9d29d-ac41-46ff-b2be-c3f5dd1e26e1" providerId="ADAL" clId="{B3A474F3-5485-4A93-8981-1E68ACC9F057}" dt="2023-03-02T12:16:24.945" v="9720"/>
          <ac:graphicFrameMkLst>
            <pc:docMk/>
            <pc:sldMk cId="2170462522" sldId="2134806364"/>
            <ac:graphicFrameMk id="4" creationId="{B159A224-8179-C8AB-CAE9-8339C6F657DD}"/>
          </ac:graphicFrameMkLst>
        </pc:graphicFrameChg>
        <pc:graphicFrameChg chg="add mod">
          <ac:chgData name="STEPANCHENKO, D. (Dmitrii)" userId="30c9d29d-ac41-46ff-b2be-c3f5dd1e26e1" providerId="ADAL" clId="{B3A474F3-5485-4A93-8981-1E68ACC9F057}" dt="2023-03-02T12:19:03.862" v="9731" actId="1076"/>
          <ac:graphicFrameMkLst>
            <pc:docMk/>
            <pc:sldMk cId="2170462522" sldId="2134806364"/>
            <ac:graphicFrameMk id="9" creationId="{AF85494D-3A74-D6D6-345B-A29C0874A7A4}"/>
          </ac:graphicFrameMkLst>
        </pc:graphicFrameChg>
        <pc:cxnChg chg="add mod ord">
          <ac:chgData name="STEPANCHENKO, D. (Dmitrii)" userId="30c9d29d-ac41-46ff-b2be-c3f5dd1e26e1" providerId="ADAL" clId="{B3A474F3-5485-4A93-8981-1E68ACC9F057}" dt="2023-03-02T12:18:56.059" v="9730" actId="166"/>
          <ac:cxnSpMkLst>
            <pc:docMk/>
            <pc:sldMk cId="2170462522" sldId="2134806364"/>
            <ac:cxnSpMk id="7" creationId="{5097CF43-5BB5-A4D7-B1C0-64B58D5F9976}"/>
          </ac:cxnSpMkLst>
        </pc:cxnChg>
        <pc:cxnChg chg="add mod ord">
          <ac:chgData name="STEPANCHENKO, D. (Dmitrii)" userId="30c9d29d-ac41-46ff-b2be-c3f5dd1e26e1" providerId="ADAL" clId="{B3A474F3-5485-4A93-8981-1E68ACC9F057}" dt="2023-03-02T12:18:56.059" v="9730" actId="166"/>
          <ac:cxnSpMkLst>
            <pc:docMk/>
            <pc:sldMk cId="2170462522" sldId="2134806364"/>
            <ac:cxnSpMk id="8" creationId="{AAA8FA6B-E6E7-3145-7334-4883C3782DD4}"/>
          </ac:cxnSpMkLst>
        </pc:cxnChg>
      </pc:sldChg>
      <pc:sldChg chg="addSp delSp modSp add mod ord modAnim">
        <pc:chgData name="STEPANCHENKO, D. (Dmitrii)" userId="30c9d29d-ac41-46ff-b2be-c3f5dd1e26e1" providerId="ADAL" clId="{B3A474F3-5485-4A93-8981-1E68ACC9F057}" dt="2023-03-04T08:00:59.081" v="10099" actId="20577"/>
        <pc:sldMkLst>
          <pc:docMk/>
          <pc:sldMk cId="2009647800" sldId="2134806365"/>
        </pc:sldMkLst>
        <pc:spChg chg="add del mod">
          <ac:chgData name="STEPANCHENKO, D. (Dmitrii)" userId="30c9d29d-ac41-46ff-b2be-c3f5dd1e26e1" providerId="ADAL" clId="{B3A474F3-5485-4A93-8981-1E68ACC9F057}" dt="2023-02-03T11:55:38.367" v="4637" actId="478"/>
          <ac:spMkLst>
            <pc:docMk/>
            <pc:sldMk cId="2009647800" sldId="2134806365"/>
            <ac:spMk id="4" creationId="{24A99F7A-C996-EB89-3EE3-0849D373E964}"/>
          </ac:spMkLst>
        </pc:spChg>
        <pc:spChg chg="mod">
          <ac:chgData name="STEPANCHENKO, D. (Dmitrii)" userId="30c9d29d-ac41-46ff-b2be-c3f5dd1e26e1" providerId="ADAL" clId="{B3A474F3-5485-4A93-8981-1E68ACC9F057}" dt="2023-02-03T11:51:57.385" v="4474" actId="20577"/>
          <ac:spMkLst>
            <pc:docMk/>
            <pc:sldMk cId="2009647800" sldId="2134806365"/>
            <ac:spMk id="5" creationId="{81BD1123-3626-1C45-BF5B-1C1864FA8AFA}"/>
          </ac:spMkLst>
        </pc:spChg>
        <pc:spChg chg="add mod">
          <ac:chgData name="STEPANCHENKO, D. (Dmitrii)" userId="30c9d29d-ac41-46ff-b2be-c3f5dd1e26e1" providerId="ADAL" clId="{B3A474F3-5485-4A93-8981-1E68ACC9F057}" dt="2023-03-04T08:00:59.081" v="10099" actId="20577"/>
          <ac:spMkLst>
            <pc:docMk/>
            <pc:sldMk cId="2009647800" sldId="2134806365"/>
            <ac:spMk id="6" creationId="{0CC4AECF-C07E-D445-7662-1379531BFE9E}"/>
          </ac:spMkLst>
        </pc:spChg>
        <pc:graphicFrameChg chg="add mod">
          <ac:chgData name="STEPANCHENKO, D. (Dmitrii)" userId="30c9d29d-ac41-46ff-b2be-c3f5dd1e26e1" providerId="ADAL" clId="{B3A474F3-5485-4A93-8981-1E68ACC9F057}" dt="2023-03-02T12:36:07.042" v="10039" actId="14100"/>
          <ac:graphicFrameMkLst>
            <pc:docMk/>
            <pc:sldMk cId="2009647800" sldId="2134806365"/>
            <ac:graphicFrameMk id="3" creationId="{D14F2AFB-9BE5-1194-5793-3A81C8CBA917}"/>
          </ac:graphicFrameMkLst>
        </pc:graphicFrameChg>
        <pc:graphicFrameChg chg="add mod">
          <ac:chgData name="STEPANCHENKO, D. (Dmitrii)" userId="30c9d29d-ac41-46ff-b2be-c3f5dd1e26e1" providerId="ADAL" clId="{B3A474F3-5485-4A93-8981-1E68ACC9F057}" dt="2023-03-02T12:35:20.580" v="10032" actId="255"/>
          <ac:graphicFrameMkLst>
            <pc:docMk/>
            <pc:sldMk cId="2009647800" sldId="2134806365"/>
            <ac:graphicFrameMk id="8" creationId="{E907387D-4137-E229-41C1-A58A64A3F7FA}"/>
          </ac:graphicFrameMkLst>
        </pc:graphicFrameChg>
        <pc:picChg chg="add mod">
          <ac:chgData name="STEPANCHENKO, D. (Dmitrii)" userId="30c9d29d-ac41-46ff-b2be-c3f5dd1e26e1" providerId="ADAL" clId="{B3A474F3-5485-4A93-8981-1E68ACC9F057}" dt="2023-03-02T12:38:47.609" v="10084" actId="1076"/>
          <ac:picMkLst>
            <pc:docMk/>
            <pc:sldMk cId="2009647800" sldId="2134806365"/>
            <ac:picMk id="7" creationId="{E2561070-4ADF-F47E-C76D-691903EC337A}"/>
          </ac:picMkLst>
        </pc:picChg>
      </pc:sldChg>
      <pc:sldChg chg="new del">
        <pc:chgData name="STEPANCHENKO, D. (Dmitrii)" userId="30c9d29d-ac41-46ff-b2be-c3f5dd1e26e1" providerId="ADAL" clId="{B3A474F3-5485-4A93-8981-1E68ACC9F057}" dt="2023-02-17T09:33:00.775" v="9322" actId="680"/>
        <pc:sldMkLst>
          <pc:docMk/>
          <pc:sldMk cId="544069423" sldId="2134806366"/>
        </pc:sldMkLst>
      </pc:sldChg>
      <pc:sldChg chg="addSp delSp modSp add mod">
        <pc:chgData name="STEPANCHENKO, D. (Dmitrii)" userId="30c9d29d-ac41-46ff-b2be-c3f5dd1e26e1" providerId="ADAL" clId="{B3A474F3-5485-4A93-8981-1E68ACC9F057}" dt="2023-03-03T07:53:41.409" v="10098" actId="1076"/>
        <pc:sldMkLst>
          <pc:docMk/>
          <pc:sldMk cId="1414602870" sldId="2134806366"/>
        </pc:sldMkLst>
        <pc:spChg chg="mod">
          <ac:chgData name="STEPANCHENKO, D. (Dmitrii)" userId="30c9d29d-ac41-46ff-b2be-c3f5dd1e26e1" providerId="ADAL" clId="{B3A474F3-5485-4A93-8981-1E68ACC9F057}" dt="2023-03-03T07:53:36.626" v="10096" actId="6549"/>
          <ac:spMkLst>
            <pc:docMk/>
            <pc:sldMk cId="1414602870" sldId="2134806366"/>
            <ac:spMk id="5" creationId="{81BD1123-3626-1C45-BF5B-1C1864FA8AFA}"/>
          </ac:spMkLst>
        </pc:spChg>
        <pc:spChg chg="del">
          <ac:chgData name="STEPANCHENKO, D. (Dmitrii)" userId="30c9d29d-ac41-46ff-b2be-c3f5dd1e26e1" providerId="ADAL" clId="{B3A474F3-5485-4A93-8981-1E68ACC9F057}" dt="2023-03-03T07:53:12.075" v="10087" actId="478"/>
          <ac:spMkLst>
            <pc:docMk/>
            <pc:sldMk cId="1414602870" sldId="2134806366"/>
            <ac:spMk id="6" creationId="{AE0CF21A-7EEC-2647-7CE1-4307193910B5}"/>
          </ac:spMkLst>
        </pc:spChg>
        <pc:spChg chg="del">
          <ac:chgData name="STEPANCHENKO, D. (Dmitrii)" userId="30c9d29d-ac41-46ff-b2be-c3f5dd1e26e1" providerId="ADAL" clId="{B3A474F3-5485-4A93-8981-1E68ACC9F057}" dt="2023-03-03T07:53:12.075" v="10087" actId="478"/>
          <ac:spMkLst>
            <pc:docMk/>
            <pc:sldMk cId="1414602870" sldId="2134806366"/>
            <ac:spMk id="8" creationId="{EF3AA727-580F-928C-D91B-08CCC90BB46B}"/>
          </ac:spMkLst>
        </pc:spChg>
        <pc:spChg chg="del">
          <ac:chgData name="STEPANCHENKO, D. (Dmitrii)" userId="30c9d29d-ac41-46ff-b2be-c3f5dd1e26e1" providerId="ADAL" clId="{B3A474F3-5485-4A93-8981-1E68ACC9F057}" dt="2023-03-03T07:53:09.557" v="10086" actId="478"/>
          <ac:spMkLst>
            <pc:docMk/>
            <pc:sldMk cId="1414602870" sldId="2134806366"/>
            <ac:spMk id="17" creationId="{BD69FFC3-98E2-981F-8355-D6A1F4013CC8}"/>
          </ac:spMkLst>
        </pc:spChg>
        <pc:spChg chg="del">
          <ac:chgData name="STEPANCHENKO, D. (Dmitrii)" userId="30c9d29d-ac41-46ff-b2be-c3f5dd1e26e1" providerId="ADAL" clId="{B3A474F3-5485-4A93-8981-1E68ACC9F057}" dt="2023-03-03T07:53:09.557" v="10086" actId="478"/>
          <ac:spMkLst>
            <pc:docMk/>
            <pc:sldMk cId="1414602870" sldId="2134806366"/>
            <ac:spMk id="28" creationId="{680C9532-9059-68DF-88F9-42B190D45C92}"/>
          </ac:spMkLst>
        </pc:spChg>
        <pc:graphicFrameChg chg="del">
          <ac:chgData name="STEPANCHENKO, D. (Dmitrii)" userId="30c9d29d-ac41-46ff-b2be-c3f5dd1e26e1" providerId="ADAL" clId="{B3A474F3-5485-4A93-8981-1E68ACC9F057}" dt="2023-03-03T07:53:09.557" v="10086" actId="478"/>
          <ac:graphicFrameMkLst>
            <pc:docMk/>
            <pc:sldMk cId="1414602870" sldId="2134806366"/>
            <ac:graphicFrameMk id="3" creationId="{D105480F-C095-4C97-9245-C3CB74424EC1}"/>
          </ac:graphicFrameMkLst>
        </pc:graphicFrameChg>
        <pc:picChg chg="add mod">
          <ac:chgData name="STEPANCHENKO, D. (Dmitrii)" userId="30c9d29d-ac41-46ff-b2be-c3f5dd1e26e1" providerId="ADAL" clId="{B3A474F3-5485-4A93-8981-1E68ACC9F057}" dt="2023-03-03T07:53:41.409" v="10098" actId="1076"/>
          <ac:picMkLst>
            <pc:docMk/>
            <pc:sldMk cId="1414602870" sldId="2134806366"/>
            <ac:picMk id="7" creationId="{0204345F-6801-798F-7AE3-F04009CDCFC1}"/>
          </ac:picMkLst>
        </pc:picChg>
      </pc:sldChg>
      <pc:sldChg chg="modSp add del mod">
        <pc:chgData name="STEPANCHENKO, D. (Dmitrii)" userId="30c9d29d-ac41-46ff-b2be-c3f5dd1e26e1" providerId="ADAL" clId="{B3A474F3-5485-4A93-8981-1E68ACC9F057}" dt="2023-02-03T13:23:50.736" v="5411" actId="47"/>
        <pc:sldMkLst>
          <pc:docMk/>
          <pc:sldMk cId="2537524256" sldId="2134806366"/>
        </pc:sldMkLst>
        <pc:spChg chg="mod">
          <ac:chgData name="STEPANCHENKO, D. (Dmitrii)" userId="30c9d29d-ac41-46ff-b2be-c3f5dd1e26e1" providerId="ADAL" clId="{B3A474F3-5485-4A93-8981-1E68ACC9F057}" dt="2023-02-03T13:23:26.958" v="5410" actId="20577"/>
          <ac:spMkLst>
            <pc:docMk/>
            <pc:sldMk cId="2537524256" sldId="2134806366"/>
            <ac:spMk id="5" creationId="{81BD1123-3626-1C45-BF5B-1C1864FA8AFA}"/>
          </ac:spMkLst>
        </pc:spChg>
      </pc:sldChg>
      <pc:sldChg chg="add del">
        <pc:chgData name="STEPANCHENKO, D. (Dmitrii)" userId="30c9d29d-ac41-46ff-b2be-c3f5dd1e26e1" providerId="ADAL" clId="{B3A474F3-5485-4A93-8981-1E68ACC9F057}" dt="2023-02-03T13:28:06.701" v="5444" actId="47"/>
        <pc:sldMkLst>
          <pc:docMk/>
          <pc:sldMk cId="2932584647" sldId="2134806366"/>
        </pc:sldMkLst>
      </pc:sldChg>
      <pc:sldChg chg="delSp modSp add del mod">
        <pc:chgData name="STEPANCHENKO, D. (Dmitrii)" userId="30c9d29d-ac41-46ff-b2be-c3f5dd1e26e1" providerId="ADAL" clId="{B3A474F3-5485-4A93-8981-1E68ACC9F057}" dt="2023-02-05T11:02:38.098" v="7558" actId="47"/>
        <pc:sldMkLst>
          <pc:docMk/>
          <pc:sldMk cId="3722710193" sldId="2134806366"/>
        </pc:sldMkLst>
        <pc:spChg chg="del">
          <ac:chgData name="STEPANCHENKO, D. (Dmitrii)" userId="30c9d29d-ac41-46ff-b2be-c3f5dd1e26e1" providerId="ADAL" clId="{B3A474F3-5485-4A93-8981-1E68ACC9F057}" dt="2023-02-05T11:02:07.548" v="7546" actId="478"/>
          <ac:spMkLst>
            <pc:docMk/>
            <pc:sldMk cId="3722710193" sldId="2134806366"/>
            <ac:spMk id="3" creationId="{045058D7-B51E-D43C-FF13-E4066AB6D01E}"/>
          </ac:spMkLst>
        </pc:spChg>
        <pc:spChg chg="mod">
          <ac:chgData name="STEPANCHENKO, D. (Dmitrii)" userId="30c9d29d-ac41-46ff-b2be-c3f5dd1e26e1" providerId="ADAL" clId="{B3A474F3-5485-4A93-8981-1E68ACC9F057}" dt="2023-02-05T11:02:13.526" v="7557" actId="20577"/>
          <ac:spMkLst>
            <pc:docMk/>
            <pc:sldMk cId="3722710193" sldId="2134806366"/>
            <ac:spMk id="5" creationId="{81BD1123-3626-1C45-BF5B-1C1864FA8AFA}"/>
          </ac:spMkLst>
        </pc:spChg>
        <pc:spChg chg="del">
          <ac:chgData name="STEPANCHENKO, D. (Dmitrii)" userId="30c9d29d-ac41-46ff-b2be-c3f5dd1e26e1" providerId="ADAL" clId="{B3A474F3-5485-4A93-8981-1E68ACC9F057}" dt="2023-02-05T11:02:07.548" v="7546" actId="478"/>
          <ac:spMkLst>
            <pc:docMk/>
            <pc:sldMk cId="3722710193" sldId="2134806366"/>
            <ac:spMk id="8" creationId="{F11D3742-CF40-E007-1538-B06A5BE4DF00}"/>
          </ac:spMkLst>
        </pc:spChg>
        <pc:spChg chg="del">
          <ac:chgData name="STEPANCHENKO, D. (Dmitrii)" userId="30c9d29d-ac41-46ff-b2be-c3f5dd1e26e1" providerId="ADAL" clId="{B3A474F3-5485-4A93-8981-1E68ACC9F057}" dt="2023-02-05T11:02:07.548" v="7546" actId="478"/>
          <ac:spMkLst>
            <pc:docMk/>
            <pc:sldMk cId="3722710193" sldId="2134806366"/>
            <ac:spMk id="9" creationId="{4C313E30-499E-6F2E-FCC6-290F2158277F}"/>
          </ac:spMkLst>
        </pc:spChg>
        <pc:spChg chg="del">
          <ac:chgData name="STEPANCHENKO, D. (Dmitrii)" userId="30c9d29d-ac41-46ff-b2be-c3f5dd1e26e1" providerId="ADAL" clId="{B3A474F3-5485-4A93-8981-1E68ACC9F057}" dt="2023-02-05T11:02:07.548" v="7546" actId="478"/>
          <ac:spMkLst>
            <pc:docMk/>
            <pc:sldMk cId="3722710193" sldId="2134806366"/>
            <ac:spMk id="10" creationId="{06902B11-2E62-6667-4DA4-588903EA564A}"/>
          </ac:spMkLst>
        </pc:spChg>
        <pc:spChg chg="del">
          <ac:chgData name="STEPANCHENKO, D. (Dmitrii)" userId="30c9d29d-ac41-46ff-b2be-c3f5dd1e26e1" providerId="ADAL" clId="{B3A474F3-5485-4A93-8981-1E68ACC9F057}" dt="2023-02-05T11:02:07.548" v="7546" actId="478"/>
          <ac:spMkLst>
            <pc:docMk/>
            <pc:sldMk cId="3722710193" sldId="2134806366"/>
            <ac:spMk id="11" creationId="{BAF46B7A-A5FA-3049-5BEB-F797CE535516}"/>
          </ac:spMkLst>
        </pc:spChg>
        <pc:spChg chg="del">
          <ac:chgData name="STEPANCHENKO, D. (Dmitrii)" userId="30c9d29d-ac41-46ff-b2be-c3f5dd1e26e1" providerId="ADAL" clId="{B3A474F3-5485-4A93-8981-1E68ACC9F057}" dt="2023-02-05T11:02:07.548" v="7546" actId="478"/>
          <ac:spMkLst>
            <pc:docMk/>
            <pc:sldMk cId="3722710193" sldId="2134806366"/>
            <ac:spMk id="12" creationId="{A93478A3-6C9D-A223-9CB7-FD2BD0C93586}"/>
          </ac:spMkLst>
        </pc:spChg>
        <pc:spChg chg="del">
          <ac:chgData name="STEPANCHENKO, D. (Dmitrii)" userId="30c9d29d-ac41-46ff-b2be-c3f5dd1e26e1" providerId="ADAL" clId="{B3A474F3-5485-4A93-8981-1E68ACC9F057}" dt="2023-02-05T11:02:07.548" v="7546" actId="478"/>
          <ac:spMkLst>
            <pc:docMk/>
            <pc:sldMk cId="3722710193" sldId="2134806366"/>
            <ac:spMk id="13" creationId="{BE519FF1-1A77-0B1C-D0B9-EA4DD1972371}"/>
          </ac:spMkLst>
        </pc:spChg>
        <pc:spChg chg="del">
          <ac:chgData name="STEPANCHENKO, D. (Dmitrii)" userId="30c9d29d-ac41-46ff-b2be-c3f5dd1e26e1" providerId="ADAL" clId="{B3A474F3-5485-4A93-8981-1E68ACC9F057}" dt="2023-02-05T11:02:07.548" v="7546" actId="478"/>
          <ac:spMkLst>
            <pc:docMk/>
            <pc:sldMk cId="3722710193" sldId="2134806366"/>
            <ac:spMk id="14" creationId="{D11DE9F9-0FE8-6B19-637C-295C7F0C2F2A}"/>
          </ac:spMkLst>
        </pc:spChg>
        <pc:spChg chg="del">
          <ac:chgData name="STEPANCHENKO, D. (Dmitrii)" userId="30c9d29d-ac41-46ff-b2be-c3f5dd1e26e1" providerId="ADAL" clId="{B3A474F3-5485-4A93-8981-1E68ACC9F057}" dt="2023-02-05T11:02:07.548" v="7546" actId="478"/>
          <ac:spMkLst>
            <pc:docMk/>
            <pc:sldMk cId="3722710193" sldId="2134806366"/>
            <ac:spMk id="15" creationId="{F4296020-F564-77A7-4AFB-B495ED415644}"/>
          </ac:spMkLst>
        </pc:spChg>
        <pc:spChg chg="del">
          <ac:chgData name="STEPANCHENKO, D. (Dmitrii)" userId="30c9d29d-ac41-46ff-b2be-c3f5dd1e26e1" providerId="ADAL" clId="{B3A474F3-5485-4A93-8981-1E68ACC9F057}" dt="2023-02-05T11:02:07.548" v="7546" actId="478"/>
          <ac:spMkLst>
            <pc:docMk/>
            <pc:sldMk cId="3722710193" sldId="2134806366"/>
            <ac:spMk id="16" creationId="{193F4ADE-0A65-F57E-BC67-EB1EC48C95B4}"/>
          </ac:spMkLst>
        </pc:spChg>
        <pc:spChg chg="del">
          <ac:chgData name="STEPANCHENKO, D. (Dmitrii)" userId="30c9d29d-ac41-46ff-b2be-c3f5dd1e26e1" providerId="ADAL" clId="{B3A474F3-5485-4A93-8981-1E68ACC9F057}" dt="2023-02-05T11:02:07.548" v="7546" actId="478"/>
          <ac:spMkLst>
            <pc:docMk/>
            <pc:sldMk cId="3722710193" sldId="2134806366"/>
            <ac:spMk id="17" creationId="{C305597E-9E2E-EDF6-59E8-9605794AAA2B}"/>
          </ac:spMkLst>
        </pc:spChg>
        <pc:spChg chg="del">
          <ac:chgData name="STEPANCHENKO, D. (Dmitrii)" userId="30c9d29d-ac41-46ff-b2be-c3f5dd1e26e1" providerId="ADAL" clId="{B3A474F3-5485-4A93-8981-1E68ACC9F057}" dt="2023-02-05T11:02:07.548" v="7546" actId="478"/>
          <ac:spMkLst>
            <pc:docMk/>
            <pc:sldMk cId="3722710193" sldId="2134806366"/>
            <ac:spMk id="18" creationId="{B18081E6-1A5D-9381-138A-880A4AF120CB}"/>
          </ac:spMkLst>
        </pc:spChg>
        <pc:spChg chg="del">
          <ac:chgData name="STEPANCHENKO, D. (Dmitrii)" userId="30c9d29d-ac41-46ff-b2be-c3f5dd1e26e1" providerId="ADAL" clId="{B3A474F3-5485-4A93-8981-1E68ACC9F057}" dt="2023-02-05T11:02:07.548" v="7546" actId="478"/>
          <ac:spMkLst>
            <pc:docMk/>
            <pc:sldMk cId="3722710193" sldId="2134806366"/>
            <ac:spMk id="19" creationId="{494538AF-12C1-B927-2CC4-DF45A4C74607}"/>
          </ac:spMkLst>
        </pc:spChg>
      </pc:sldChg>
      <pc:sldChg chg="add del">
        <pc:chgData name="STEPANCHENKO, D. (Dmitrii)" userId="30c9d29d-ac41-46ff-b2be-c3f5dd1e26e1" providerId="ADAL" clId="{B3A474F3-5485-4A93-8981-1E68ACC9F057}" dt="2023-03-03T07:53:14.592" v="10089"/>
        <pc:sldMkLst>
          <pc:docMk/>
          <pc:sldMk cId="1004186970" sldId="213480636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User\Desktop\&#1053;&#1086;&#1074;&#1072;&#1103;%20&#1087;&#1072;&#1087;&#1082;&#1072;%20(2)\Teaching\5.%20Interest%20rate%20risk\5.1%20Interest%20accruals.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User\Desktop\&#1053;&#1086;&#1074;&#1072;&#1103;%20&#1087;&#1072;&#1087;&#1082;&#1072;%20(2)\Teaching\5.%20Interest%20rate%20risk\5.3%20Interest%20gap.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User\Desktop\&#1053;&#1086;&#1074;&#1072;&#1103;%20&#1087;&#1072;&#1087;&#1082;&#1072;%20(2)\Teaching\5.%20Interest%20rate%20risk\5.3%20Interest%20gap.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Interest%20rate%20risk/5.3%20Interest%20gap,%20NII,%20EVE.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Interest%20rate%20risk/5.3%20Interest%20gap,%20NII,%20EVE.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Interest%20rate%20risk/5.3%20Interest%20gap,%20NII,%20EVE.xlsx" TargetMode="Externa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1.xml"/></Relationships>
</file>

<file path=ppt/charts/_rels/chart15.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Teaching/Risk-management%20in%20Bank/5.%20Interest%20rate%20risk/5.3%20Interest%20gap,%20NII,%20EVE.xlsx" TargetMode="Externa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chartUserShapes" Target="../drawings/drawing2.xml"/></Relationships>
</file>

<file path=ppt/charts/_rels/chart16.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Teaching/Risk-management%20in%20Bank/5.%20Interest%20rate%20risk/5.3%20Interest%20gap,%20NII,%20EVE.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Teaching/Risk-management%20in%20Bank/5.%20Interest%20rate%20risk/5.3%20Interest%20gap,%20NII,%20EVE.xlsx" TargetMode="Externa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chartUserShapes" Target="../drawings/drawing3.xml"/></Relationships>
</file>

<file path=ppt/charts/_rels/chart18.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Teaching/Risk-management%20in%20Bank/5.%20Interest%20rate%20risk/5.3%20Interest%20gap,%20NII,%20EVE.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Teaching/Risk-management%20in%20Bank/5.%20Interest%20rate%20risk/5.3%20Interest%20gap,%20NII,%20EVE.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C:\Users\User\Desktop\&#1053;&#1086;&#1074;&#1072;&#1103;%20&#1087;&#1072;&#1087;&#1082;&#1072;%20(2)\Teaching\5.%20Interest%20rate%20risk\5.2%20Treasury%20Yield.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Teaching/Risk-management%20in%20Bank/5.%20Interest%20rate%20risk/5.3%20Interest%20gap,%20NII,%20EVE.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Teaching/Risk-management%20in%20Bank/5.%20Interest%20rate%20risk/5.3%20Interest%20gap,%20NII,%20EVE.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Teaching/Risk-management%20in%20Bank/5.%20Interest%20rate%20risk/5.3%20Interest%20gap,%20NII,%20EVE.xlsx" TargetMode="External"/><Relationship Id="rId2" Type="http://schemas.microsoft.com/office/2011/relationships/chartColorStyle" Target="colors22.xml"/><Relationship Id="rId1" Type="http://schemas.microsoft.com/office/2011/relationships/chartStyle" Target="style22.xml"/></Relationships>
</file>

<file path=ppt/charts/_rels/chart3.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Interest%20rate%20risk/5.2%20Yield_Duration.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ing-my.sharepoint.com/personal/dmitrii_stepanchenko_ing_com/Documents/Desktop/Teaching/Interest%20rate%20risk/5.3%20Interest%20gap,%20NII,%20EVE.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User\Desktop\&#1053;&#1086;&#1074;&#1072;&#1103;%20&#1087;&#1072;&#1087;&#1082;&#1072;%20(2)\Teaching\5.%20Interest%20rate%20risk\&#1087;&#1088;&#1080;&#1084;&#1077;&#1088;&#1099;%20&#1074;%20&#1101;&#1082;&#1089;&#1077;&#1083;&#1100;.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User\Desktop\&#1053;&#1086;&#1074;&#1072;&#1103;%20&#1087;&#1072;&#1087;&#1082;&#1072;%20(2)\Teaching\5.%20Interest%20rate%20risk\&#1087;&#1088;&#1080;&#1084;&#1077;&#1088;&#1099;%20&#1074;%20&#1101;&#1082;&#1089;&#1077;&#1083;&#1100;.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User\Desktop\&#1053;&#1086;&#1074;&#1072;&#1103;%20&#1087;&#1072;&#1087;&#1082;&#1072;%20(2)\Teaching\5.%20Interest%20rate%20risk\5.2%20Treasury%20Yield.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User\Desktop\&#1053;&#1086;&#1074;&#1072;&#1103;%20&#1087;&#1072;&#1087;&#1082;&#1072;%20(2)\Teaching\5.%20Interest%20rate%20risk\5.3%20Interest%20gap.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User\Desktop\&#1053;&#1086;&#1074;&#1072;&#1103;%20&#1087;&#1072;&#1087;&#1082;&#1072;%20(2)\Teaching\5.%20Interest%20rate%20risk\5.3%20Interest%20gap.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578839525515594E-2"/>
          <c:y val="0.10808597653112333"/>
          <c:w val="0.8962084470682572"/>
          <c:h val="0.69761649764221667"/>
        </c:manualLayout>
      </c:layout>
      <c:lineChart>
        <c:grouping val="standard"/>
        <c:varyColors val="0"/>
        <c:ser>
          <c:idx val="0"/>
          <c:order val="0"/>
          <c:tx>
            <c:strRef>
              <c:f>'Interest accrual'!$C$7</c:f>
              <c:strCache>
                <c:ptCount val="1"/>
                <c:pt idx="0">
                  <c:v> Simple </c:v>
                </c:pt>
              </c:strCache>
            </c:strRef>
          </c:tx>
          <c:spPr>
            <a:ln w="28575" cap="rnd">
              <a:solidFill>
                <a:schemeClr val="accent1"/>
              </a:solidFill>
              <a:round/>
            </a:ln>
            <a:effectLst/>
          </c:spPr>
          <c:marker>
            <c:symbol val="none"/>
          </c:marker>
          <c:cat>
            <c:numRef>
              <c:f>'Interest accrual'!$B$8:$B$387</c:f>
              <c:numCache>
                <c:formatCode>d/m/yy;@</c:formatCode>
                <c:ptCount val="380"/>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pt idx="39">
                  <c:v>45383</c:v>
                </c:pt>
                <c:pt idx="40">
                  <c:v>45413</c:v>
                </c:pt>
                <c:pt idx="41">
                  <c:v>45444</c:v>
                </c:pt>
                <c:pt idx="42">
                  <c:v>45474</c:v>
                </c:pt>
                <c:pt idx="43">
                  <c:v>45505</c:v>
                </c:pt>
                <c:pt idx="44">
                  <c:v>45536</c:v>
                </c:pt>
                <c:pt idx="45">
                  <c:v>45566</c:v>
                </c:pt>
                <c:pt idx="46">
                  <c:v>45597</c:v>
                </c:pt>
                <c:pt idx="47">
                  <c:v>45627</c:v>
                </c:pt>
                <c:pt idx="48">
                  <c:v>45658</c:v>
                </c:pt>
                <c:pt idx="49">
                  <c:v>45689</c:v>
                </c:pt>
                <c:pt idx="50">
                  <c:v>45717</c:v>
                </c:pt>
                <c:pt idx="51">
                  <c:v>45748</c:v>
                </c:pt>
                <c:pt idx="52">
                  <c:v>45778</c:v>
                </c:pt>
                <c:pt idx="53">
                  <c:v>45809</c:v>
                </c:pt>
                <c:pt idx="54">
                  <c:v>45839</c:v>
                </c:pt>
                <c:pt idx="55">
                  <c:v>45870</c:v>
                </c:pt>
                <c:pt idx="56">
                  <c:v>45901</c:v>
                </c:pt>
                <c:pt idx="57">
                  <c:v>45931</c:v>
                </c:pt>
                <c:pt idx="58">
                  <c:v>45962</c:v>
                </c:pt>
                <c:pt idx="59">
                  <c:v>45992</c:v>
                </c:pt>
                <c:pt idx="60">
                  <c:v>46023</c:v>
                </c:pt>
                <c:pt idx="61">
                  <c:v>46054</c:v>
                </c:pt>
                <c:pt idx="62">
                  <c:v>46082</c:v>
                </c:pt>
                <c:pt idx="63">
                  <c:v>46113</c:v>
                </c:pt>
                <c:pt idx="64">
                  <c:v>46143</c:v>
                </c:pt>
                <c:pt idx="65">
                  <c:v>46174</c:v>
                </c:pt>
                <c:pt idx="66">
                  <c:v>46204</c:v>
                </c:pt>
                <c:pt idx="67">
                  <c:v>46235</c:v>
                </c:pt>
                <c:pt idx="68">
                  <c:v>46266</c:v>
                </c:pt>
                <c:pt idx="69">
                  <c:v>46296</c:v>
                </c:pt>
                <c:pt idx="70">
                  <c:v>46327</c:v>
                </c:pt>
                <c:pt idx="71">
                  <c:v>46357</c:v>
                </c:pt>
                <c:pt idx="72">
                  <c:v>46388</c:v>
                </c:pt>
                <c:pt idx="73">
                  <c:v>46419</c:v>
                </c:pt>
                <c:pt idx="74">
                  <c:v>46447</c:v>
                </c:pt>
                <c:pt idx="75">
                  <c:v>46478</c:v>
                </c:pt>
                <c:pt idx="76">
                  <c:v>46508</c:v>
                </c:pt>
                <c:pt idx="77">
                  <c:v>46539</c:v>
                </c:pt>
                <c:pt idx="78">
                  <c:v>46569</c:v>
                </c:pt>
                <c:pt idx="79">
                  <c:v>46600</c:v>
                </c:pt>
                <c:pt idx="80">
                  <c:v>46631</c:v>
                </c:pt>
                <c:pt idx="81">
                  <c:v>46661</c:v>
                </c:pt>
                <c:pt idx="82">
                  <c:v>46692</c:v>
                </c:pt>
                <c:pt idx="83">
                  <c:v>46722</c:v>
                </c:pt>
                <c:pt idx="84">
                  <c:v>46753</c:v>
                </c:pt>
                <c:pt idx="85">
                  <c:v>46784</c:v>
                </c:pt>
                <c:pt idx="86">
                  <c:v>46813</c:v>
                </c:pt>
                <c:pt idx="87">
                  <c:v>46844</c:v>
                </c:pt>
                <c:pt idx="88">
                  <c:v>46874</c:v>
                </c:pt>
                <c:pt idx="89">
                  <c:v>46905</c:v>
                </c:pt>
                <c:pt idx="90">
                  <c:v>46935</c:v>
                </c:pt>
                <c:pt idx="91">
                  <c:v>46966</c:v>
                </c:pt>
                <c:pt idx="92">
                  <c:v>46997</c:v>
                </c:pt>
                <c:pt idx="93">
                  <c:v>47027</c:v>
                </c:pt>
                <c:pt idx="94">
                  <c:v>47058</c:v>
                </c:pt>
                <c:pt idx="95">
                  <c:v>47088</c:v>
                </c:pt>
                <c:pt idx="96">
                  <c:v>47119</c:v>
                </c:pt>
                <c:pt idx="97">
                  <c:v>47150</c:v>
                </c:pt>
                <c:pt idx="98">
                  <c:v>47178</c:v>
                </c:pt>
                <c:pt idx="99">
                  <c:v>47209</c:v>
                </c:pt>
                <c:pt idx="100">
                  <c:v>47239</c:v>
                </c:pt>
                <c:pt idx="101">
                  <c:v>47270</c:v>
                </c:pt>
                <c:pt idx="102">
                  <c:v>47300</c:v>
                </c:pt>
                <c:pt idx="103">
                  <c:v>47331</c:v>
                </c:pt>
                <c:pt idx="104">
                  <c:v>47362</c:v>
                </c:pt>
                <c:pt idx="105">
                  <c:v>47392</c:v>
                </c:pt>
                <c:pt idx="106">
                  <c:v>47423</c:v>
                </c:pt>
                <c:pt idx="107">
                  <c:v>47453</c:v>
                </c:pt>
                <c:pt idx="108">
                  <c:v>47484</c:v>
                </c:pt>
                <c:pt idx="109">
                  <c:v>47515</c:v>
                </c:pt>
                <c:pt idx="110">
                  <c:v>47543</c:v>
                </c:pt>
                <c:pt idx="111">
                  <c:v>47574</c:v>
                </c:pt>
                <c:pt idx="112">
                  <c:v>47604</c:v>
                </c:pt>
                <c:pt idx="113">
                  <c:v>47635</c:v>
                </c:pt>
                <c:pt idx="114">
                  <c:v>47665</c:v>
                </c:pt>
                <c:pt idx="115">
                  <c:v>47696</c:v>
                </c:pt>
                <c:pt idx="116">
                  <c:v>47727</c:v>
                </c:pt>
                <c:pt idx="117">
                  <c:v>47757</c:v>
                </c:pt>
                <c:pt idx="118">
                  <c:v>47788</c:v>
                </c:pt>
                <c:pt idx="119">
                  <c:v>47818</c:v>
                </c:pt>
                <c:pt idx="120">
                  <c:v>47849</c:v>
                </c:pt>
                <c:pt idx="121">
                  <c:v>47880</c:v>
                </c:pt>
                <c:pt idx="122">
                  <c:v>47908</c:v>
                </c:pt>
                <c:pt idx="123">
                  <c:v>47939</c:v>
                </c:pt>
                <c:pt idx="124">
                  <c:v>47969</c:v>
                </c:pt>
                <c:pt idx="125">
                  <c:v>48000</c:v>
                </c:pt>
                <c:pt idx="126">
                  <c:v>48030</c:v>
                </c:pt>
                <c:pt idx="127">
                  <c:v>48061</c:v>
                </c:pt>
                <c:pt idx="128">
                  <c:v>48092</c:v>
                </c:pt>
                <c:pt idx="129">
                  <c:v>48122</c:v>
                </c:pt>
                <c:pt idx="130">
                  <c:v>48153</c:v>
                </c:pt>
                <c:pt idx="131">
                  <c:v>48183</c:v>
                </c:pt>
                <c:pt idx="132">
                  <c:v>48214</c:v>
                </c:pt>
                <c:pt idx="133">
                  <c:v>48245</c:v>
                </c:pt>
                <c:pt idx="134">
                  <c:v>48274</c:v>
                </c:pt>
                <c:pt idx="135">
                  <c:v>48305</c:v>
                </c:pt>
                <c:pt idx="136">
                  <c:v>48335</c:v>
                </c:pt>
                <c:pt idx="137">
                  <c:v>48366</c:v>
                </c:pt>
                <c:pt idx="138">
                  <c:v>48396</c:v>
                </c:pt>
                <c:pt idx="139">
                  <c:v>48427</c:v>
                </c:pt>
                <c:pt idx="140">
                  <c:v>48458</c:v>
                </c:pt>
                <c:pt idx="141">
                  <c:v>48488</c:v>
                </c:pt>
                <c:pt idx="142">
                  <c:v>48519</c:v>
                </c:pt>
                <c:pt idx="143">
                  <c:v>48549</c:v>
                </c:pt>
                <c:pt idx="144">
                  <c:v>48580</c:v>
                </c:pt>
                <c:pt idx="145">
                  <c:v>48611</c:v>
                </c:pt>
                <c:pt idx="146">
                  <c:v>48639</c:v>
                </c:pt>
                <c:pt idx="147">
                  <c:v>48670</c:v>
                </c:pt>
                <c:pt idx="148">
                  <c:v>48700</c:v>
                </c:pt>
                <c:pt idx="149">
                  <c:v>48731</c:v>
                </c:pt>
                <c:pt idx="150">
                  <c:v>48761</c:v>
                </c:pt>
                <c:pt idx="151">
                  <c:v>48792</c:v>
                </c:pt>
                <c:pt idx="152">
                  <c:v>48823</c:v>
                </c:pt>
                <c:pt idx="153">
                  <c:v>48853</c:v>
                </c:pt>
                <c:pt idx="154">
                  <c:v>48884</c:v>
                </c:pt>
                <c:pt idx="155">
                  <c:v>48914</c:v>
                </c:pt>
                <c:pt idx="156">
                  <c:v>48945</c:v>
                </c:pt>
                <c:pt idx="157">
                  <c:v>48976</c:v>
                </c:pt>
                <c:pt idx="158">
                  <c:v>49004</c:v>
                </c:pt>
                <c:pt idx="159">
                  <c:v>49035</c:v>
                </c:pt>
                <c:pt idx="160">
                  <c:v>49065</c:v>
                </c:pt>
                <c:pt idx="161">
                  <c:v>49096</c:v>
                </c:pt>
                <c:pt idx="162">
                  <c:v>49126</c:v>
                </c:pt>
                <c:pt idx="163">
                  <c:v>49157</c:v>
                </c:pt>
                <c:pt idx="164">
                  <c:v>49188</c:v>
                </c:pt>
                <c:pt idx="165">
                  <c:v>49218</c:v>
                </c:pt>
                <c:pt idx="166">
                  <c:v>49249</c:v>
                </c:pt>
                <c:pt idx="167">
                  <c:v>49279</c:v>
                </c:pt>
                <c:pt idx="168">
                  <c:v>49310</c:v>
                </c:pt>
                <c:pt idx="169">
                  <c:v>49341</c:v>
                </c:pt>
                <c:pt idx="170">
                  <c:v>49369</c:v>
                </c:pt>
                <c:pt idx="171">
                  <c:v>49400</c:v>
                </c:pt>
                <c:pt idx="172">
                  <c:v>49430</c:v>
                </c:pt>
                <c:pt idx="173">
                  <c:v>49461</c:v>
                </c:pt>
                <c:pt idx="174">
                  <c:v>49491</c:v>
                </c:pt>
                <c:pt idx="175">
                  <c:v>49522</c:v>
                </c:pt>
                <c:pt idx="176">
                  <c:v>49553</c:v>
                </c:pt>
                <c:pt idx="177">
                  <c:v>49583</c:v>
                </c:pt>
                <c:pt idx="178">
                  <c:v>49614</c:v>
                </c:pt>
                <c:pt idx="179">
                  <c:v>49644</c:v>
                </c:pt>
                <c:pt idx="180">
                  <c:v>49675</c:v>
                </c:pt>
                <c:pt idx="181">
                  <c:v>49706</c:v>
                </c:pt>
                <c:pt idx="182">
                  <c:v>49735</c:v>
                </c:pt>
                <c:pt idx="183">
                  <c:v>49766</c:v>
                </c:pt>
                <c:pt idx="184">
                  <c:v>49796</c:v>
                </c:pt>
                <c:pt idx="185">
                  <c:v>49827</c:v>
                </c:pt>
                <c:pt idx="186">
                  <c:v>49857</c:v>
                </c:pt>
                <c:pt idx="187">
                  <c:v>49888</c:v>
                </c:pt>
                <c:pt idx="188">
                  <c:v>49919</c:v>
                </c:pt>
                <c:pt idx="189">
                  <c:v>49949</c:v>
                </c:pt>
                <c:pt idx="190">
                  <c:v>49980</c:v>
                </c:pt>
                <c:pt idx="191">
                  <c:v>50010</c:v>
                </c:pt>
                <c:pt idx="192">
                  <c:v>50041</c:v>
                </c:pt>
                <c:pt idx="193">
                  <c:v>50072</c:v>
                </c:pt>
                <c:pt idx="194">
                  <c:v>50100</c:v>
                </c:pt>
                <c:pt idx="195">
                  <c:v>50131</c:v>
                </c:pt>
                <c:pt idx="196">
                  <c:v>50161</c:v>
                </c:pt>
                <c:pt idx="197">
                  <c:v>50192</c:v>
                </c:pt>
                <c:pt idx="198">
                  <c:v>50222</c:v>
                </c:pt>
                <c:pt idx="199">
                  <c:v>50253</c:v>
                </c:pt>
                <c:pt idx="200">
                  <c:v>50284</c:v>
                </c:pt>
                <c:pt idx="201">
                  <c:v>50314</c:v>
                </c:pt>
                <c:pt idx="202">
                  <c:v>50345</c:v>
                </c:pt>
                <c:pt idx="203">
                  <c:v>50375</c:v>
                </c:pt>
                <c:pt idx="204">
                  <c:v>50406</c:v>
                </c:pt>
                <c:pt idx="205">
                  <c:v>50437</c:v>
                </c:pt>
                <c:pt idx="206">
                  <c:v>50465</c:v>
                </c:pt>
                <c:pt idx="207">
                  <c:v>50496</c:v>
                </c:pt>
                <c:pt idx="208">
                  <c:v>50526</c:v>
                </c:pt>
                <c:pt idx="209">
                  <c:v>50557</c:v>
                </c:pt>
                <c:pt idx="210">
                  <c:v>50587</c:v>
                </c:pt>
                <c:pt idx="211">
                  <c:v>50618</c:v>
                </c:pt>
                <c:pt idx="212">
                  <c:v>50649</c:v>
                </c:pt>
                <c:pt idx="213">
                  <c:v>50679</c:v>
                </c:pt>
                <c:pt idx="214">
                  <c:v>50710</c:v>
                </c:pt>
                <c:pt idx="215">
                  <c:v>50740</c:v>
                </c:pt>
                <c:pt idx="216">
                  <c:v>50771</c:v>
                </c:pt>
                <c:pt idx="217">
                  <c:v>50802</c:v>
                </c:pt>
                <c:pt idx="218">
                  <c:v>50830</c:v>
                </c:pt>
                <c:pt idx="219">
                  <c:v>50861</c:v>
                </c:pt>
                <c:pt idx="220">
                  <c:v>50891</c:v>
                </c:pt>
                <c:pt idx="221">
                  <c:v>50922</c:v>
                </c:pt>
                <c:pt idx="222">
                  <c:v>50952</c:v>
                </c:pt>
                <c:pt idx="223">
                  <c:v>50983</c:v>
                </c:pt>
                <c:pt idx="224">
                  <c:v>51014</c:v>
                </c:pt>
                <c:pt idx="225">
                  <c:v>51044</c:v>
                </c:pt>
                <c:pt idx="226">
                  <c:v>51075</c:v>
                </c:pt>
                <c:pt idx="227">
                  <c:v>51105</c:v>
                </c:pt>
                <c:pt idx="228">
                  <c:v>51136</c:v>
                </c:pt>
                <c:pt idx="229">
                  <c:v>51167</c:v>
                </c:pt>
                <c:pt idx="230">
                  <c:v>51196</c:v>
                </c:pt>
                <c:pt idx="231">
                  <c:v>51227</c:v>
                </c:pt>
                <c:pt idx="232">
                  <c:v>51257</c:v>
                </c:pt>
                <c:pt idx="233">
                  <c:v>51288</c:v>
                </c:pt>
                <c:pt idx="234">
                  <c:v>51318</c:v>
                </c:pt>
                <c:pt idx="235">
                  <c:v>51349</c:v>
                </c:pt>
                <c:pt idx="236">
                  <c:v>51380</c:v>
                </c:pt>
                <c:pt idx="237">
                  <c:v>51410</c:v>
                </c:pt>
                <c:pt idx="238">
                  <c:v>51441</c:v>
                </c:pt>
                <c:pt idx="239">
                  <c:v>51471</c:v>
                </c:pt>
                <c:pt idx="240">
                  <c:v>51502</c:v>
                </c:pt>
                <c:pt idx="241">
                  <c:v>51533</c:v>
                </c:pt>
                <c:pt idx="242">
                  <c:v>51561</c:v>
                </c:pt>
                <c:pt idx="243">
                  <c:v>51592</c:v>
                </c:pt>
                <c:pt idx="244">
                  <c:v>51622</c:v>
                </c:pt>
                <c:pt idx="245">
                  <c:v>51653</c:v>
                </c:pt>
                <c:pt idx="246">
                  <c:v>51683</c:v>
                </c:pt>
                <c:pt idx="247">
                  <c:v>51714</c:v>
                </c:pt>
                <c:pt idx="248">
                  <c:v>51745</c:v>
                </c:pt>
                <c:pt idx="249">
                  <c:v>51775</c:v>
                </c:pt>
                <c:pt idx="250">
                  <c:v>51806</c:v>
                </c:pt>
                <c:pt idx="251">
                  <c:v>51836</c:v>
                </c:pt>
                <c:pt idx="252">
                  <c:v>51867</c:v>
                </c:pt>
                <c:pt idx="253">
                  <c:v>51898</c:v>
                </c:pt>
                <c:pt idx="254">
                  <c:v>51926</c:v>
                </c:pt>
                <c:pt idx="255">
                  <c:v>51957</c:v>
                </c:pt>
                <c:pt idx="256">
                  <c:v>51987</c:v>
                </c:pt>
                <c:pt idx="257">
                  <c:v>52018</c:v>
                </c:pt>
                <c:pt idx="258">
                  <c:v>52048</c:v>
                </c:pt>
                <c:pt idx="259">
                  <c:v>52079</c:v>
                </c:pt>
                <c:pt idx="260">
                  <c:v>52110</c:v>
                </c:pt>
                <c:pt idx="261">
                  <c:v>52140</c:v>
                </c:pt>
                <c:pt idx="262">
                  <c:v>52171</c:v>
                </c:pt>
                <c:pt idx="263">
                  <c:v>52201</c:v>
                </c:pt>
                <c:pt idx="264">
                  <c:v>52232</c:v>
                </c:pt>
                <c:pt idx="265">
                  <c:v>52263</c:v>
                </c:pt>
                <c:pt idx="266">
                  <c:v>52291</c:v>
                </c:pt>
                <c:pt idx="267">
                  <c:v>52322</c:v>
                </c:pt>
                <c:pt idx="268">
                  <c:v>52352</c:v>
                </c:pt>
                <c:pt idx="269">
                  <c:v>52383</c:v>
                </c:pt>
                <c:pt idx="270">
                  <c:v>52413</c:v>
                </c:pt>
                <c:pt idx="271">
                  <c:v>52444</c:v>
                </c:pt>
                <c:pt idx="272">
                  <c:v>52475</c:v>
                </c:pt>
                <c:pt idx="273">
                  <c:v>52505</c:v>
                </c:pt>
                <c:pt idx="274">
                  <c:v>52536</c:v>
                </c:pt>
                <c:pt idx="275">
                  <c:v>52566</c:v>
                </c:pt>
                <c:pt idx="276">
                  <c:v>52597</c:v>
                </c:pt>
                <c:pt idx="277">
                  <c:v>52628</c:v>
                </c:pt>
                <c:pt idx="278">
                  <c:v>52657</c:v>
                </c:pt>
                <c:pt idx="279">
                  <c:v>52688</c:v>
                </c:pt>
                <c:pt idx="280">
                  <c:v>52718</c:v>
                </c:pt>
                <c:pt idx="281">
                  <c:v>52749</c:v>
                </c:pt>
                <c:pt idx="282">
                  <c:v>52779</c:v>
                </c:pt>
                <c:pt idx="283">
                  <c:v>52810</c:v>
                </c:pt>
                <c:pt idx="284">
                  <c:v>52841</c:v>
                </c:pt>
                <c:pt idx="285">
                  <c:v>52871</c:v>
                </c:pt>
                <c:pt idx="286">
                  <c:v>52902</c:v>
                </c:pt>
                <c:pt idx="287">
                  <c:v>52932</c:v>
                </c:pt>
                <c:pt idx="288">
                  <c:v>52963</c:v>
                </c:pt>
                <c:pt idx="289">
                  <c:v>52994</c:v>
                </c:pt>
                <c:pt idx="290">
                  <c:v>53022</c:v>
                </c:pt>
                <c:pt idx="291">
                  <c:v>53053</c:v>
                </c:pt>
                <c:pt idx="292">
                  <c:v>53083</c:v>
                </c:pt>
                <c:pt idx="293">
                  <c:v>53114</c:v>
                </c:pt>
                <c:pt idx="294">
                  <c:v>53144</c:v>
                </c:pt>
                <c:pt idx="295">
                  <c:v>53175</c:v>
                </c:pt>
                <c:pt idx="296">
                  <c:v>53206</c:v>
                </c:pt>
                <c:pt idx="297">
                  <c:v>53236</c:v>
                </c:pt>
                <c:pt idx="298">
                  <c:v>53267</c:v>
                </c:pt>
                <c:pt idx="299">
                  <c:v>53297</c:v>
                </c:pt>
                <c:pt idx="300">
                  <c:v>53328</c:v>
                </c:pt>
                <c:pt idx="301">
                  <c:v>53359</c:v>
                </c:pt>
                <c:pt idx="302">
                  <c:v>53387</c:v>
                </c:pt>
                <c:pt idx="303">
                  <c:v>53418</c:v>
                </c:pt>
                <c:pt idx="304">
                  <c:v>53448</c:v>
                </c:pt>
                <c:pt idx="305">
                  <c:v>53479</c:v>
                </c:pt>
                <c:pt idx="306">
                  <c:v>53509</c:v>
                </c:pt>
                <c:pt idx="307">
                  <c:v>53540</c:v>
                </c:pt>
                <c:pt idx="308">
                  <c:v>53571</c:v>
                </c:pt>
                <c:pt idx="309">
                  <c:v>53601</c:v>
                </c:pt>
                <c:pt idx="310">
                  <c:v>53632</c:v>
                </c:pt>
                <c:pt idx="311">
                  <c:v>53662</c:v>
                </c:pt>
                <c:pt idx="312">
                  <c:v>53693</c:v>
                </c:pt>
                <c:pt idx="313">
                  <c:v>53724</c:v>
                </c:pt>
                <c:pt idx="314">
                  <c:v>53752</c:v>
                </c:pt>
                <c:pt idx="315">
                  <c:v>53783</c:v>
                </c:pt>
                <c:pt idx="316">
                  <c:v>53813</c:v>
                </c:pt>
                <c:pt idx="317">
                  <c:v>53844</c:v>
                </c:pt>
                <c:pt idx="318">
                  <c:v>53874</c:v>
                </c:pt>
                <c:pt idx="319">
                  <c:v>53905</c:v>
                </c:pt>
                <c:pt idx="320">
                  <c:v>53936</c:v>
                </c:pt>
                <c:pt idx="321">
                  <c:v>53966</c:v>
                </c:pt>
                <c:pt idx="322">
                  <c:v>53997</c:v>
                </c:pt>
                <c:pt idx="323">
                  <c:v>54027</c:v>
                </c:pt>
                <c:pt idx="324">
                  <c:v>54058</c:v>
                </c:pt>
                <c:pt idx="325">
                  <c:v>54089</c:v>
                </c:pt>
                <c:pt idx="326">
                  <c:v>54118</c:v>
                </c:pt>
                <c:pt idx="327">
                  <c:v>54149</c:v>
                </c:pt>
                <c:pt idx="328">
                  <c:v>54179</c:v>
                </c:pt>
                <c:pt idx="329">
                  <c:v>54210</c:v>
                </c:pt>
                <c:pt idx="330">
                  <c:v>54240</c:v>
                </c:pt>
                <c:pt idx="331">
                  <c:v>54271</c:v>
                </c:pt>
                <c:pt idx="332">
                  <c:v>54302</c:v>
                </c:pt>
                <c:pt idx="333">
                  <c:v>54332</c:v>
                </c:pt>
                <c:pt idx="334">
                  <c:v>54363</c:v>
                </c:pt>
                <c:pt idx="335">
                  <c:v>54393</c:v>
                </c:pt>
                <c:pt idx="336">
                  <c:v>54424</c:v>
                </c:pt>
                <c:pt idx="337">
                  <c:v>54455</c:v>
                </c:pt>
                <c:pt idx="338">
                  <c:v>54483</c:v>
                </c:pt>
                <c:pt idx="339">
                  <c:v>54514</c:v>
                </c:pt>
                <c:pt idx="340">
                  <c:v>54544</c:v>
                </c:pt>
                <c:pt idx="341">
                  <c:v>54575</c:v>
                </c:pt>
                <c:pt idx="342">
                  <c:v>54605</c:v>
                </c:pt>
                <c:pt idx="343">
                  <c:v>54636</c:v>
                </c:pt>
                <c:pt idx="344">
                  <c:v>54667</c:v>
                </c:pt>
                <c:pt idx="345">
                  <c:v>54697</c:v>
                </c:pt>
                <c:pt idx="346">
                  <c:v>54728</c:v>
                </c:pt>
                <c:pt idx="347">
                  <c:v>54758</c:v>
                </c:pt>
                <c:pt idx="348">
                  <c:v>54789</c:v>
                </c:pt>
                <c:pt idx="349">
                  <c:v>54820</c:v>
                </c:pt>
                <c:pt idx="350">
                  <c:v>54848</c:v>
                </c:pt>
                <c:pt idx="351">
                  <c:v>54879</c:v>
                </c:pt>
                <c:pt idx="352">
                  <c:v>54909</c:v>
                </c:pt>
                <c:pt idx="353">
                  <c:v>54940</c:v>
                </c:pt>
                <c:pt idx="354">
                  <c:v>54970</c:v>
                </c:pt>
                <c:pt idx="355">
                  <c:v>55001</c:v>
                </c:pt>
                <c:pt idx="356">
                  <c:v>55032</c:v>
                </c:pt>
                <c:pt idx="357">
                  <c:v>55062</c:v>
                </c:pt>
                <c:pt idx="358">
                  <c:v>55093</c:v>
                </c:pt>
                <c:pt idx="359">
                  <c:v>55123</c:v>
                </c:pt>
                <c:pt idx="360">
                  <c:v>55154</c:v>
                </c:pt>
                <c:pt idx="361">
                  <c:v>55185</c:v>
                </c:pt>
                <c:pt idx="362">
                  <c:v>55213</c:v>
                </c:pt>
                <c:pt idx="363">
                  <c:v>55244</c:v>
                </c:pt>
                <c:pt idx="364">
                  <c:v>55274</c:v>
                </c:pt>
                <c:pt idx="365">
                  <c:v>55305</c:v>
                </c:pt>
                <c:pt idx="366">
                  <c:v>55335</c:v>
                </c:pt>
                <c:pt idx="367">
                  <c:v>55366</c:v>
                </c:pt>
                <c:pt idx="368">
                  <c:v>55397</c:v>
                </c:pt>
                <c:pt idx="369">
                  <c:v>55427</c:v>
                </c:pt>
                <c:pt idx="370">
                  <c:v>55458</c:v>
                </c:pt>
                <c:pt idx="371">
                  <c:v>55488</c:v>
                </c:pt>
                <c:pt idx="372">
                  <c:v>55519</c:v>
                </c:pt>
                <c:pt idx="373">
                  <c:v>55550</c:v>
                </c:pt>
                <c:pt idx="374">
                  <c:v>55579</c:v>
                </c:pt>
                <c:pt idx="375">
                  <c:v>55610</c:v>
                </c:pt>
                <c:pt idx="376">
                  <c:v>55640</c:v>
                </c:pt>
                <c:pt idx="377">
                  <c:v>55671</c:v>
                </c:pt>
                <c:pt idx="378">
                  <c:v>55701</c:v>
                </c:pt>
                <c:pt idx="379">
                  <c:v>55732</c:v>
                </c:pt>
              </c:numCache>
            </c:numRef>
          </c:cat>
          <c:val>
            <c:numRef>
              <c:f>'Interest accrual'!$C$8:$C$387</c:f>
              <c:numCache>
                <c:formatCode>_(* #,##0_);_(* \(#,##0\);_(* "-"??_);_(@_)</c:formatCode>
                <c:ptCount val="380"/>
                <c:pt idx="0">
                  <c:v>1000000</c:v>
                </c:pt>
                <c:pt idx="1">
                  <c:v>1008493.1506849315</c:v>
                </c:pt>
                <c:pt idx="2">
                  <c:v>1016164.3835616439</c:v>
                </c:pt>
                <c:pt idx="3">
                  <c:v>1024657.5342465753</c:v>
                </c:pt>
                <c:pt idx="4">
                  <c:v>1032876.7123287672</c:v>
                </c:pt>
                <c:pt idx="5">
                  <c:v>1041369.8630136987</c:v>
                </c:pt>
                <c:pt idx="6">
                  <c:v>1049589.0410958903</c:v>
                </c:pt>
                <c:pt idx="7">
                  <c:v>1058082.1917808219</c:v>
                </c:pt>
                <c:pt idx="8">
                  <c:v>1066575.3424657534</c:v>
                </c:pt>
                <c:pt idx="9">
                  <c:v>1074794.5205479453</c:v>
                </c:pt>
                <c:pt idx="10">
                  <c:v>1083287.6712328768</c:v>
                </c:pt>
                <c:pt idx="11">
                  <c:v>1091506.8493150687</c:v>
                </c:pt>
                <c:pt idx="12">
                  <c:v>1100000</c:v>
                </c:pt>
                <c:pt idx="13">
                  <c:v>1108493.1506849315</c:v>
                </c:pt>
                <c:pt idx="14">
                  <c:v>1116164.383561644</c:v>
                </c:pt>
                <c:pt idx="15">
                  <c:v>1124657.5342465756</c:v>
                </c:pt>
                <c:pt idx="16">
                  <c:v>1132876.7123287672</c:v>
                </c:pt>
                <c:pt idx="17">
                  <c:v>1141369.8630136985</c:v>
                </c:pt>
                <c:pt idx="18">
                  <c:v>1149589.0410958903</c:v>
                </c:pt>
                <c:pt idx="19">
                  <c:v>1158082.1917808219</c:v>
                </c:pt>
                <c:pt idx="20">
                  <c:v>1166575.3424657534</c:v>
                </c:pt>
                <c:pt idx="21">
                  <c:v>1174794.5205479453</c:v>
                </c:pt>
                <c:pt idx="22">
                  <c:v>1183287.6712328768</c:v>
                </c:pt>
                <c:pt idx="23">
                  <c:v>1191506.8493150685</c:v>
                </c:pt>
                <c:pt idx="24">
                  <c:v>1200000</c:v>
                </c:pt>
                <c:pt idx="25">
                  <c:v>1208493.1506849315</c:v>
                </c:pt>
                <c:pt idx="26">
                  <c:v>1216164.3835616438</c:v>
                </c:pt>
                <c:pt idx="27">
                  <c:v>1224657.5342465753</c:v>
                </c:pt>
                <c:pt idx="28">
                  <c:v>1232876.7123287672</c:v>
                </c:pt>
                <c:pt idx="29">
                  <c:v>1241369.8630136987</c:v>
                </c:pt>
                <c:pt idx="30">
                  <c:v>1249589.0410958906</c:v>
                </c:pt>
                <c:pt idx="31">
                  <c:v>1258082.1917808219</c:v>
                </c:pt>
                <c:pt idx="32">
                  <c:v>1266575.3424657534</c:v>
                </c:pt>
                <c:pt idx="33">
                  <c:v>1274794.5205479453</c:v>
                </c:pt>
                <c:pt idx="34">
                  <c:v>1283287.6712328766</c:v>
                </c:pt>
                <c:pt idx="35">
                  <c:v>1291506.8493150685</c:v>
                </c:pt>
                <c:pt idx="36">
                  <c:v>1300000</c:v>
                </c:pt>
                <c:pt idx="37">
                  <c:v>1308493.1506849315</c:v>
                </c:pt>
                <c:pt idx="38">
                  <c:v>1316438.3561643835</c:v>
                </c:pt>
                <c:pt idx="39">
                  <c:v>1324931.506849315</c:v>
                </c:pt>
                <c:pt idx="40">
                  <c:v>1333150.6849315069</c:v>
                </c:pt>
                <c:pt idx="41">
                  <c:v>1341643.8356164384</c:v>
                </c:pt>
                <c:pt idx="42">
                  <c:v>1349863.0136986303</c:v>
                </c:pt>
                <c:pt idx="43">
                  <c:v>1358356.1643835616</c:v>
                </c:pt>
                <c:pt idx="44">
                  <c:v>1366849.3150684934</c:v>
                </c:pt>
                <c:pt idx="45">
                  <c:v>1375068.493150685</c:v>
                </c:pt>
                <c:pt idx="46">
                  <c:v>1383561.6438356165</c:v>
                </c:pt>
                <c:pt idx="47">
                  <c:v>1391780.8219178084</c:v>
                </c:pt>
                <c:pt idx="48">
                  <c:v>1400273.9726027397</c:v>
                </c:pt>
                <c:pt idx="49">
                  <c:v>1408767.1232876712</c:v>
                </c:pt>
                <c:pt idx="50">
                  <c:v>1416438.3561643837</c:v>
                </c:pt>
                <c:pt idx="51">
                  <c:v>1424931.506849315</c:v>
                </c:pt>
                <c:pt idx="52">
                  <c:v>1433150.6849315071</c:v>
                </c:pt>
                <c:pt idx="53">
                  <c:v>1441643.8356164382</c:v>
                </c:pt>
                <c:pt idx="54">
                  <c:v>1449863.01369863</c:v>
                </c:pt>
                <c:pt idx="55">
                  <c:v>1458356.1643835616</c:v>
                </c:pt>
                <c:pt idx="56">
                  <c:v>1466849.3150684931</c:v>
                </c:pt>
                <c:pt idx="57">
                  <c:v>1475068.493150685</c:v>
                </c:pt>
                <c:pt idx="58">
                  <c:v>1483561.6438356165</c:v>
                </c:pt>
                <c:pt idx="59">
                  <c:v>1491780.8219178081</c:v>
                </c:pt>
                <c:pt idx="60">
                  <c:v>1500273.9726027397</c:v>
                </c:pt>
                <c:pt idx="61">
                  <c:v>1508767.1232876715</c:v>
                </c:pt>
                <c:pt idx="62">
                  <c:v>1516438.3561643837</c:v>
                </c:pt>
                <c:pt idx="63">
                  <c:v>1524931.506849315</c:v>
                </c:pt>
                <c:pt idx="64">
                  <c:v>1533150.6849315069</c:v>
                </c:pt>
                <c:pt idx="65">
                  <c:v>1541643.8356164384</c:v>
                </c:pt>
                <c:pt idx="66">
                  <c:v>1549863.0136986303</c:v>
                </c:pt>
                <c:pt idx="67">
                  <c:v>1558356.1643835618</c:v>
                </c:pt>
                <c:pt idx="68">
                  <c:v>1566849.3150684929</c:v>
                </c:pt>
                <c:pt idx="69">
                  <c:v>1575068.493150685</c:v>
                </c:pt>
                <c:pt idx="70">
                  <c:v>1583561.6438356163</c:v>
                </c:pt>
                <c:pt idx="71">
                  <c:v>1591780.8219178081</c:v>
                </c:pt>
                <c:pt idx="72">
                  <c:v>1600273.9726027397</c:v>
                </c:pt>
                <c:pt idx="73">
                  <c:v>1608767.1232876712</c:v>
                </c:pt>
                <c:pt idx="74">
                  <c:v>1616438.3561643835</c:v>
                </c:pt>
                <c:pt idx="75">
                  <c:v>1624931.506849315</c:v>
                </c:pt>
                <c:pt idx="76">
                  <c:v>1633150.6849315069</c:v>
                </c:pt>
                <c:pt idx="77">
                  <c:v>1641643.8356164384</c:v>
                </c:pt>
                <c:pt idx="78">
                  <c:v>1649863.01369863</c:v>
                </c:pt>
                <c:pt idx="79">
                  <c:v>1658356.1643835618</c:v>
                </c:pt>
                <c:pt idx="80">
                  <c:v>1666849.3150684931</c:v>
                </c:pt>
                <c:pt idx="81">
                  <c:v>1675068.493150685</c:v>
                </c:pt>
                <c:pt idx="82">
                  <c:v>1683561.6438356165</c:v>
                </c:pt>
                <c:pt idx="83">
                  <c:v>1691780.8219178081</c:v>
                </c:pt>
                <c:pt idx="84">
                  <c:v>1700273.9726027399</c:v>
                </c:pt>
                <c:pt idx="85">
                  <c:v>1708767.123287671</c:v>
                </c:pt>
                <c:pt idx="86">
                  <c:v>1716712.3287671234</c:v>
                </c:pt>
                <c:pt idx="87">
                  <c:v>1725205.4794520547</c:v>
                </c:pt>
                <c:pt idx="88">
                  <c:v>1733424.6575342466</c:v>
                </c:pt>
                <c:pt idx="89">
                  <c:v>1741917.8082191781</c:v>
                </c:pt>
                <c:pt idx="90">
                  <c:v>1750136.9863013697</c:v>
                </c:pt>
                <c:pt idx="91">
                  <c:v>1758630.1369863015</c:v>
                </c:pt>
                <c:pt idx="92">
                  <c:v>1767123.2876712328</c:v>
                </c:pt>
                <c:pt idx="93">
                  <c:v>1775342.4657534247</c:v>
                </c:pt>
                <c:pt idx="94">
                  <c:v>1783835.6164383562</c:v>
                </c:pt>
                <c:pt idx="95">
                  <c:v>1792054.7945205481</c:v>
                </c:pt>
                <c:pt idx="96">
                  <c:v>1800547.9452054796</c:v>
                </c:pt>
                <c:pt idx="97">
                  <c:v>1809041.0958904109</c:v>
                </c:pt>
                <c:pt idx="98">
                  <c:v>1816712.3287671232</c:v>
                </c:pt>
                <c:pt idx="99">
                  <c:v>1825205.4794520549</c:v>
                </c:pt>
                <c:pt idx="100">
                  <c:v>1833424.6575342466</c:v>
                </c:pt>
                <c:pt idx="101">
                  <c:v>1841917.8082191783</c:v>
                </c:pt>
                <c:pt idx="102">
                  <c:v>1850136.98630137</c:v>
                </c:pt>
                <c:pt idx="103">
                  <c:v>1858630.1369863015</c:v>
                </c:pt>
                <c:pt idx="104">
                  <c:v>1867123.2876712328</c:v>
                </c:pt>
                <c:pt idx="105">
                  <c:v>1875342.4657534244</c:v>
                </c:pt>
                <c:pt idx="106">
                  <c:v>1883835.6164383562</c:v>
                </c:pt>
                <c:pt idx="107">
                  <c:v>1892054.7945205478</c:v>
                </c:pt>
                <c:pt idx="108">
                  <c:v>1900547.9452054796</c:v>
                </c:pt>
                <c:pt idx="109">
                  <c:v>1909041.0958904109</c:v>
                </c:pt>
                <c:pt idx="110">
                  <c:v>1916712.3287671232</c:v>
                </c:pt>
                <c:pt idx="111">
                  <c:v>1925205.4794520549</c:v>
                </c:pt>
                <c:pt idx="112">
                  <c:v>1933424.6575342466</c:v>
                </c:pt>
                <c:pt idx="113">
                  <c:v>1941917.8082191781</c:v>
                </c:pt>
                <c:pt idx="114">
                  <c:v>1950136.98630137</c:v>
                </c:pt>
                <c:pt idx="115">
                  <c:v>1958630.1369863015</c:v>
                </c:pt>
                <c:pt idx="116">
                  <c:v>1967123.2876712331</c:v>
                </c:pt>
                <c:pt idx="117">
                  <c:v>1975342.4657534247</c:v>
                </c:pt>
                <c:pt idx="118">
                  <c:v>1983835.6164383565</c:v>
                </c:pt>
                <c:pt idx="119">
                  <c:v>1992054.7945205481</c:v>
                </c:pt>
                <c:pt idx="120">
                  <c:v>2000547.9452054794</c:v>
                </c:pt>
                <c:pt idx="121">
                  <c:v>2009041.0958904109</c:v>
                </c:pt>
                <c:pt idx="122">
                  <c:v>2016712.3287671234</c:v>
                </c:pt>
                <c:pt idx="123">
                  <c:v>2025205.4794520547</c:v>
                </c:pt>
                <c:pt idx="124">
                  <c:v>2033424.6575342468</c:v>
                </c:pt>
                <c:pt idx="125">
                  <c:v>2041917.8082191781</c:v>
                </c:pt>
                <c:pt idx="126">
                  <c:v>2050136.9863013697</c:v>
                </c:pt>
                <c:pt idx="127">
                  <c:v>2058630.1369863013</c:v>
                </c:pt>
                <c:pt idx="128">
                  <c:v>2067123.2876712331</c:v>
                </c:pt>
                <c:pt idx="129">
                  <c:v>2075342.4657534247</c:v>
                </c:pt>
                <c:pt idx="130">
                  <c:v>2083835.616438356</c:v>
                </c:pt>
                <c:pt idx="131">
                  <c:v>2092054.7945205481</c:v>
                </c:pt>
                <c:pt idx="132">
                  <c:v>2100547.9452054799</c:v>
                </c:pt>
                <c:pt idx="133">
                  <c:v>2109041.0958904107</c:v>
                </c:pt>
                <c:pt idx="134">
                  <c:v>2116986.3013698631</c:v>
                </c:pt>
                <c:pt idx="135">
                  <c:v>2125479.4520547949</c:v>
                </c:pt>
                <c:pt idx="136">
                  <c:v>2133698.6301369858</c:v>
                </c:pt>
                <c:pt idx="137">
                  <c:v>2142191.7808219176</c:v>
                </c:pt>
                <c:pt idx="138">
                  <c:v>2150410.9589041099</c:v>
                </c:pt>
                <c:pt idx="139">
                  <c:v>2158904.1095890412</c:v>
                </c:pt>
                <c:pt idx="140">
                  <c:v>2167397.2602739725</c:v>
                </c:pt>
                <c:pt idx="141">
                  <c:v>2175616.4383561644</c:v>
                </c:pt>
                <c:pt idx="142">
                  <c:v>2184109.5890410962</c:v>
                </c:pt>
                <c:pt idx="143">
                  <c:v>2192328.767123288</c:v>
                </c:pt>
                <c:pt idx="144">
                  <c:v>2200821.9178082193</c:v>
                </c:pt>
                <c:pt idx="145">
                  <c:v>2209315.0684931506</c:v>
                </c:pt>
                <c:pt idx="146">
                  <c:v>2216986.3013698631</c:v>
                </c:pt>
                <c:pt idx="147">
                  <c:v>2225479.4520547944</c:v>
                </c:pt>
                <c:pt idx="148">
                  <c:v>2233698.6301369867</c:v>
                </c:pt>
                <c:pt idx="149">
                  <c:v>2242191.780821918</c:v>
                </c:pt>
                <c:pt idx="150">
                  <c:v>2250410.9589041094</c:v>
                </c:pt>
                <c:pt idx="151">
                  <c:v>2258904.1095890412</c:v>
                </c:pt>
                <c:pt idx="152">
                  <c:v>2267397.260273973</c:v>
                </c:pt>
                <c:pt idx="153">
                  <c:v>2275616.4383561639</c:v>
                </c:pt>
                <c:pt idx="154">
                  <c:v>2284109.5890410957</c:v>
                </c:pt>
                <c:pt idx="155">
                  <c:v>2292328.767123288</c:v>
                </c:pt>
                <c:pt idx="156">
                  <c:v>2300821.9178082193</c:v>
                </c:pt>
                <c:pt idx="157">
                  <c:v>2309315.0684931506</c:v>
                </c:pt>
                <c:pt idx="158">
                  <c:v>2316986.3013698631</c:v>
                </c:pt>
                <c:pt idx="159">
                  <c:v>2325479.4520547944</c:v>
                </c:pt>
                <c:pt idx="160">
                  <c:v>2333698.6301369863</c:v>
                </c:pt>
                <c:pt idx="161">
                  <c:v>2342191.780821918</c:v>
                </c:pt>
                <c:pt idx="162">
                  <c:v>2350410.9589041099</c:v>
                </c:pt>
                <c:pt idx="163">
                  <c:v>2358904.1095890407</c:v>
                </c:pt>
                <c:pt idx="164">
                  <c:v>2367397.2602739725</c:v>
                </c:pt>
                <c:pt idx="165">
                  <c:v>2375616.4383561648</c:v>
                </c:pt>
                <c:pt idx="166">
                  <c:v>2384109.5890410962</c:v>
                </c:pt>
                <c:pt idx="167">
                  <c:v>2392328.7671232875</c:v>
                </c:pt>
                <c:pt idx="168">
                  <c:v>2400821.9178082193</c:v>
                </c:pt>
                <c:pt idx="169">
                  <c:v>2409315.0684931506</c:v>
                </c:pt>
                <c:pt idx="170">
                  <c:v>2416986.3013698631</c:v>
                </c:pt>
                <c:pt idx="171">
                  <c:v>2425479.4520547949</c:v>
                </c:pt>
                <c:pt idx="172">
                  <c:v>2433698.6301369867</c:v>
                </c:pt>
                <c:pt idx="173">
                  <c:v>2442191.7808219176</c:v>
                </c:pt>
                <c:pt idx="174">
                  <c:v>2450410.9589041094</c:v>
                </c:pt>
                <c:pt idx="175">
                  <c:v>2458904.1095890412</c:v>
                </c:pt>
                <c:pt idx="176">
                  <c:v>2467397.2602739725</c:v>
                </c:pt>
                <c:pt idx="177">
                  <c:v>2475616.4383561644</c:v>
                </c:pt>
                <c:pt idx="178">
                  <c:v>2484109.5890410962</c:v>
                </c:pt>
                <c:pt idx="179">
                  <c:v>2492328.767123288</c:v>
                </c:pt>
                <c:pt idx="180">
                  <c:v>2500821.9178082193</c:v>
                </c:pt>
                <c:pt idx="181">
                  <c:v>2509315.0684931506</c:v>
                </c:pt>
                <c:pt idx="182">
                  <c:v>2517260.273972603</c:v>
                </c:pt>
                <c:pt idx="183">
                  <c:v>2525753.4246575339</c:v>
                </c:pt>
                <c:pt idx="184">
                  <c:v>2533972.6027397262</c:v>
                </c:pt>
                <c:pt idx="185">
                  <c:v>2542465.753424658</c:v>
                </c:pt>
                <c:pt idx="186">
                  <c:v>2550684.9315068494</c:v>
                </c:pt>
                <c:pt idx="187">
                  <c:v>2559178.0821917807</c:v>
                </c:pt>
                <c:pt idx="188">
                  <c:v>2567671.2328767125</c:v>
                </c:pt>
                <c:pt idx="189">
                  <c:v>2575890.4109589043</c:v>
                </c:pt>
                <c:pt idx="190">
                  <c:v>2584383.5616438356</c:v>
                </c:pt>
                <c:pt idx="191">
                  <c:v>2592602.7397260275</c:v>
                </c:pt>
                <c:pt idx="192">
                  <c:v>2601095.8904109593</c:v>
                </c:pt>
                <c:pt idx="193">
                  <c:v>2609589.0410958906</c:v>
                </c:pt>
                <c:pt idx="194">
                  <c:v>2617260.2739726026</c:v>
                </c:pt>
                <c:pt idx="195">
                  <c:v>2625753.4246575343</c:v>
                </c:pt>
                <c:pt idx="196">
                  <c:v>2633972.6027397257</c:v>
                </c:pt>
                <c:pt idx="197">
                  <c:v>2642465.7534246575</c:v>
                </c:pt>
                <c:pt idx="198">
                  <c:v>2650684.9315068494</c:v>
                </c:pt>
                <c:pt idx="199">
                  <c:v>2659178.0821917811</c:v>
                </c:pt>
                <c:pt idx="200">
                  <c:v>2667671.2328767125</c:v>
                </c:pt>
                <c:pt idx="201">
                  <c:v>2675890.4109589043</c:v>
                </c:pt>
                <c:pt idx="202">
                  <c:v>2684383.5616438356</c:v>
                </c:pt>
                <c:pt idx="203">
                  <c:v>2692602.7397260275</c:v>
                </c:pt>
                <c:pt idx="204">
                  <c:v>2701095.8904109593</c:v>
                </c:pt>
                <c:pt idx="205">
                  <c:v>2709589.0410958906</c:v>
                </c:pt>
                <c:pt idx="206">
                  <c:v>2717260.273972603</c:v>
                </c:pt>
                <c:pt idx="207">
                  <c:v>2725753.4246575343</c:v>
                </c:pt>
                <c:pt idx="208">
                  <c:v>2733972.6027397262</c:v>
                </c:pt>
                <c:pt idx="209">
                  <c:v>2742465.7534246575</c:v>
                </c:pt>
                <c:pt idx="210">
                  <c:v>2750684.9315068489</c:v>
                </c:pt>
                <c:pt idx="211">
                  <c:v>2759178.0821917807</c:v>
                </c:pt>
                <c:pt idx="212">
                  <c:v>2767671.2328767125</c:v>
                </c:pt>
                <c:pt idx="213">
                  <c:v>2775890.4109589043</c:v>
                </c:pt>
                <c:pt idx="214">
                  <c:v>2784383.5616438356</c:v>
                </c:pt>
                <c:pt idx="215">
                  <c:v>2792602.7397260275</c:v>
                </c:pt>
                <c:pt idx="216">
                  <c:v>2801095.8904109593</c:v>
                </c:pt>
                <c:pt idx="217">
                  <c:v>2809589.0410958901</c:v>
                </c:pt>
                <c:pt idx="218">
                  <c:v>2817260.273972603</c:v>
                </c:pt>
                <c:pt idx="219">
                  <c:v>2825753.4246575348</c:v>
                </c:pt>
                <c:pt idx="220">
                  <c:v>2833972.6027397262</c:v>
                </c:pt>
                <c:pt idx="221">
                  <c:v>2842465.7534246575</c:v>
                </c:pt>
                <c:pt idx="222">
                  <c:v>2850684.9315068494</c:v>
                </c:pt>
                <c:pt idx="223">
                  <c:v>2859178.0821917811</c:v>
                </c:pt>
                <c:pt idx="224">
                  <c:v>2867671.232876712</c:v>
                </c:pt>
                <c:pt idx="225">
                  <c:v>2875890.4109589043</c:v>
                </c:pt>
                <c:pt idx="226">
                  <c:v>2884383.5616438361</c:v>
                </c:pt>
                <c:pt idx="227">
                  <c:v>2892602.7397260275</c:v>
                </c:pt>
                <c:pt idx="228">
                  <c:v>2901095.8904109588</c:v>
                </c:pt>
                <c:pt idx="229">
                  <c:v>2909589.0410958906</c:v>
                </c:pt>
                <c:pt idx="230">
                  <c:v>2917534.2465753425</c:v>
                </c:pt>
                <c:pt idx="231">
                  <c:v>2926027.3972602738</c:v>
                </c:pt>
                <c:pt idx="232">
                  <c:v>2934246.5753424661</c:v>
                </c:pt>
                <c:pt idx="233">
                  <c:v>2942739.7260273974</c:v>
                </c:pt>
                <c:pt idx="234">
                  <c:v>2950958.9041095888</c:v>
                </c:pt>
                <c:pt idx="235">
                  <c:v>2959452.0547945206</c:v>
                </c:pt>
                <c:pt idx="236">
                  <c:v>2967945.2054794524</c:v>
                </c:pt>
                <c:pt idx="237">
                  <c:v>2976164.3835616442</c:v>
                </c:pt>
                <c:pt idx="238">
                  <c:v>2984657.5342465751</c:v>
                </c:pt>
                <c:pt idx="239">
                  <c:v>2992876.7123287674</c:v>
                </c:pt>
                <c:pt idx="240">
                  <c:v>3001369.8630136987</c:v>
                </c:pt>
                <c:pt idx="241">
                  <c:v>3009863.0136986305</c:v>
                </c:pt>
                <c:pt idx="242">
                  <c:v>3017534.246575343</c:v>
                </c:pt>
                <c:pt idx="243">
                  <c:v>3026027.3972602738</c:v>
                </c:pt>
                <c:pt idx="244">
                  <c:v>3034246.5753424657</c:v>
                </c:pt>
                <c:pt idx="245">
                  <c:v>3042739.7260273974</c:v>
                </c:pt>
                <c:pt idx="246">
                  <c:v>3050958.9041095888</c:v>
                </c:pt>
                <c:pt idx="247">
                  <c:v>3059452.0547945206</c:v>
                </c:pt>
                <c:pt idx="248">
                  <c:v>3067945.2054794519</c:v>
                </c:pt>
                <c:pt idx="249">
                  <c:v>3076164.3835616442</c:v>
                </c:pt>
                <c:pt idx="250">
                  <c:v>3084657.5342465756</c:v>
                </c:pt>
                <c:pt idx="251">
                  <c:v>3092876.7123287674</c:v>
                </c:pt>
                <c:pt idx="252">
                  <c:v>3101369.8630136987</c:v>
                </c:pt>
                <c:pt idx="253">
                  <c:v>3109863.01369863</c:v>
                </c:pt>
                <c:pt idx="254">
                  <c:v>3117534.246575343</c:v>
                </c:pt>
                <c:pt idx="255">
                  <c:v>3126027.3972602743</c:v>
                </c:pt>
                <c:pt idx="256">
                  <c:v>3134246.5753424657</c:v>
                </c:pt>
                <c:pt idx="257">
                  <c:v>3142739.7260273974</c:v>
                </c:pt>
                <c:pt idx="258">
                  <c:v>3150958.9041095893</c:v>
                </c:pt>
                <c:pt idx="259">
                  <c:v>3159452.0547945211</c:v>
                </c:pt>
                <c:pt idx="260">
                  <c:v>3167945.2054794519</c:v>
                </c:pt>
                <c:pt idx="261">
                  <c:v>3176164.3835616442</c:v>
                </c:pt>
                <c:pt idx="262">
                  <c:v>3184657.5342465756</c:v>
                </c:pt>
                <c:pt idx="263">
                  <c:v>3192876.7123287674</c:v>
                </c:pt>
                <c:pt idx="264">
                  <c:v>3201369.8630136983</c:v>
                </c:pt>
                <c:pt idx="265">
                  <c:v>3209863.01369863</c:v>
                </c:pt>
                <c:pt idx="266">
                  <c:v>3217534.246575343</c:v>
                </c:pt>
                <c:pt idx="267">
                  <c:v>3226027.3972602738</c:v>
                </c:pt>
                <c:pt idx="268">
                  <c:v>3234246.5753424657</c:v>
                </c:pt>
                <c:pt idx="269">
                  <c:v>3242739.726027397</c:v>
                </c:pt>
                <c:pt idx="270">
                  <c:v>3250958.9041095893</c:v>
                </c:pt>
                <c:pt idx="271">
                  <c:v>3259452.0547945206</c:v>
                </c:pt>
                <c:pt idx="272">
                  <c:v>3267945.2054794524</c:v>
                </c:pt>
                <c:pt idx="273">
                  <c:v>3276164.3835616438</c:v>
                </c:pt>
                <c:pt idx="274">
                  <c:v>3284657.5342465756</c:v>
                </c:pt>
                <c:pt idx="275">
                  <c:v>3292876.7123287674</c:v>
                </c:pt>
                <c:pt idx="276">
                  <c:v>3301369.8630136987</c:v>
                </c:pt>
                <c:pt idx="277">
                  <c:v>3309863.01369863</c:v>
                </c:pt>
                <c:pt idx="278">
                  <c:v>3317808.2191780824</c:v>
                </c:pt>
                <c:pt idx="279">
                  <c:v>3326301.3698630137</c:v>
                </c:pt>
                <c:pt idx="280">
                  <c:v>3334520.5479452056</c:v>
                </c:pt>
                <c:pt idx="281">
                  <c:v>3343013.6986301374</c:v>
                </c:pt>
                <c:pt idx="282">
                  <c:v>3351232.8767123288</c:v>
                </c:pt>
                <c:pt idx="283">
                  <c:v>3359726.0273972605</c:v>
                </c:pt>
                <c:pt idx="284">
                  <c:v>3368219.1780821919</c:v>
                </c:pt>
                <c:pt idx="285">
                  <c:v>3376438.3561643837</c:v>
                </c:pt>
                <c:pt idx="286">
                  <c:v>3384931.506849315</c:v>
                </c:pt>
                <c:pt idx="287">
                  <c:v>3393150.6849315069</c:v>
                </c:pt>
                <c:pt idx="288">
                  <c:v>3401643.8356164382</c:v>
                </c:pt>
                <c:pt idx="289">
                  <c:v>3410136.98630137</c:v>
                </c:pt>
                <c:pt idx="290">
                  <c:v>3417808.2191780824</c:v>
                </c:pt>
                <c:pt idx="291">
                  <c:v>3426301.3698630137</c:v>
                </c:pt>
                <c:pt idx="292">
                  <c:v>3434520.5479452056</c:v>
                </c:pt>
                <c:pt idx="293">
                  <c:v>3443013.6986301369</c:v>
                </c:pt>
                <c:pt idx="294">
                  <c:v>3451232.8767123292</c:v>
                </c:pt>
                <c:pt idx="295">
                  <c:v>3459726.0273972605</c:v>
                </c:pt>
                <c:pt idx="296">
                  <c:v>3468219.1780821919</c:v>
                </c:pt>
                <c:pt idx="297">
                  <c:v>3476438.3561643837</c:v>
                </c:pt>
                <c:pt idx="298">
                  <c:v>3484931.506849315</c:v>
                </c:pt>
                <c:pt idx="299">
                  <c:v>3493150.6849315069</c:v>
                </c:pt>
                <c:pt idx="300">
                  <c:v>3501643.8356164382</c:v>
                </c:pt>
                <c:pt idx="301">
                  <c:v>3510136.98630137</c:v>
                </c:pt>
                <c:pt idx="302">
                  <c:v>3517808.2191780824</c:v>
                </c:pt>
                <c:pt idx="303">
                  <c:v>3526301.3698630137</c:v>
                </c:pt>
                <c:pt idx="304">
                  <c:v>3534520.5479452056</c:v>
                </c:pt>
                <c:pt idx="305">
                  <c:v>3543013.6986301369</c:v>
                </c:pt>
                <c:pt idx="306">
                  <c:v>3551232.8767123288</c:v>
                </c:pt>
                <c:pt idx="307">
                  <c:v>3559726.0273972605</c:v>
                </c:pt>
                <c:pt idx="308">
                  <c:v>3568219.1780821923</c:v>
                </c:pt>
                <c:pt idx="309">
                  <c:v>3576438.3561643837</c:v>
                </c:pt>
                <c:pt idx="310">
                  <c:v>3584931.506849315</c:v>
                </c:pt>
                <c:pt idx="311">
                  <c:v>3593150.6849315069</c:v>
                </c:pt>
                <c:pt idx="312">
                  <c:v>3601643.8356164382</c:v>
                </c:pt>
                <c:pt idx="313">
                  <c:v>3610136.98630137</c:v>
                </c:pt>
                <c:pt idx="314">
                  <c:v>3617808.219178082</c:v>
                </c:pt>
                <c:pt idx="315">
                  <c:v>3626301.3698630137</c:v>
                </c:pt>
                <c:pt idx="316">
                  <c:v>3634520.5479452056</c:v>
                </c:pt>
                <c:pt idx="317">
                  <c:v>3643013.6986301369</c:v>
                </c:pt>
                <c:pt idx="318">
                  <c:v>3651232.8767123288</c:v>
                </c:pt>
                <c:pt idx="319">
                  <c:v>3659726.0273972605</c:v>
                </c:pt>
                <c:pt idx="320">
                  <c:v>3668219.1780821923</c:v>
                </c:pt>
                <c:pt idx="321">
                  <c:v>3676438.3561643837</c:v>
                </c:pt>
                <c:pt idx="322">
                  <c:v>3684931.506849315</c:v>
                </c:pt>
                <c:pt idx="323">
                  <c:v>3693150.6849315069</c:v>
                </c:pt>
                <c:pt idx="324">
                  <c:v>3701643.8356164386</c:v>
                </c:pt>
                <c:pt idx="325">
                  <c:v>3710136.98630137</c:v>
                </c:pt>
                <c:pt idx="326">
                  <c:v>3718082.1917808219</c:v>
                </c:pt>
                <c:pt idx="327">
                  <c:v>3726575.3424657537</c:v>
                </c:pt>
                <c:pt idx="328">
                  <c:v>3734794.5205479451</c:v>
                </c:pt>
                <c:pt idx="329">
                  <c:v>3743287.6712328768</c:v>
                </c:pt>
                <c:pt idx="330">
                  <c:v>3751506.8493150687</c:v>
                </c:pt>
                <c:pt idx="331">
                  <c:v>3760000</c:v>
                </c:pt>
                <c:pt idx="332">
                  <c:v>3768493.1506849313</c:v>
                </c:pt>
                <c:pt idx="333">
                  <c:v>3776712.3287671232</c:v>
                </c:pt>
                <c:pt idx="334">
                  <c:v>3785205.4794520549</c:v>
                </c:pt>
                <c:pt idx="335">
                  <c:v>3793424.6575342463</c:v>
                </c:pt>
                <c:pt idx="336">
                  <c:v>3801917.8082191781</c:v>
                </c:pt>
                <c:pt idx="337">
                  <c:v>3810410.9589041094</c:v>
                </c:pt>
                <c:pt idx="338">
                  <c:v>3818082.1917808224</c:v>
                </c:pt>
                <c:pt idx="339">
                  <c:v>3826575.3424657537</c:v>
                </c:pt>
                <c:pt idx="340">
                  <c:v>3834794.5205479451</c:v>
                </c:pt>
                <c:pt idx="341">
                  <c:v>3843287.6712328764</c:v>
                </c:pt>
                <c:pt idx="342">
                  <c:v>3851506.8493150682</c:v>
                </c:pt>
                <c:pt idx="343">
                  <c:v>3860000.0000000005</c:v>
                </c:pt>
                <c:pt idx="344">
                  <c:v>3868493.1506849318</c:v>
                </c:pt>
                <c:pt idx="345">
                  <c:v>3876712.3287671232</c:v>
                </c:pt>
                <c:pt idx="346">
                  <c:v>3885205.4794520549</c:v>
                </c:pt>
                <c:pt idx="347">
                  <c:v>3893424.6575342473</c:v>
                </c:pt>
                <c:pt idx="348">
                  <c:v>3901917.8082191781</c:v>
                </c:pt>
                <c:pt idx="349">
                  <c:v>3910410.9589041094</c:v>
                </c:pt>
                <c:pt idx="350">
                  <c:v>3918082.1917808224</c:v>
                </c:pt>
                <c:pt idx="351">
                  <c:v>3926575.3424657537</c:v>
                </c:pt>
                <c:pt idx="352">
                  <c:v>3934794.5205479455</c:v>
                </c:pt>
                <c:pt idx="353">
                  <c:v>3943287.6712328768</c:v>
                </c:pt>
                <c:pt idx="354">
                  <c:v>3951506.8493150682</c:v>
                </c:pt>
                <c:pt idx="355">
                  <c:v>3960000.0000000005</c:v>
                </c:pt>
                <c:pt idx="356">
                  <c:v>3968493.1506849318</c:v>
                </c:pt>
                <c:pt idx="357">
                  <c:v>3976712.3287671232</c:v>
                </c:pt>
                <c:pt idx="358">
                  <c:v>3985205.4794520549</c:v>
                </c:pt>
                <c:pt idx="359">
                  <c:v>3993424.6575342473</c:v>
                </c:pt>
                <c:pt idx="360">
                  <c:v>4001917.8082191786</c:v>
                </c:pt>
                <c:pt idx="361">
                  <c:v>4010410.9589041094</c:v>
                </c:pt>
                <c:pt idx="362">
                  <c:v>4018082.1917808219</c:v>
                </c:pt>
                <c:pt idx="363">
                  <c:v>4026575.3424657537</c:v>
                </c:pt>
                <c:pt idx="364">
                  <c:v>4034794.520547946</c:v>
                </c:pt>
                <c:pt idx="365">
                  <c:v>4043287.6712328768</c:v>
                </c:pt>
                <c:pt idx="366">
                  <c:v>4051506.8493150678</c:v>
                </c:pt>
                <c:pt idx="367">
                  <c:v>4060000.0000000005</c:v>
                </c:pt>
                <c:pt idx="368">
                  <c:v>4068493.1506849313</c:v>
                </c:pt>
                <c:pt idx="369">
                  <c:v>4076712.3287671236</c:v>
                </c:pt>
                <c:pt idx="370">
                  <c:v>4085205.4794520549</c:v>
                </c:pt>
                <c:pt idx="371">
                  <c:v>4093424.6575342463</c:v>
                </c:pt>
                <c:pt idx="372">
                  <c:v>4101917.8082191781</c:v>
                </c:pt>
                <c:pt idx="373">
                  <c:v>4110410.9589041099</c:v>
                </c:pt>
                <c:pt idx="374">
                  <c:v>4118356.1643835614</c:v>
                </c:pt>
                <c:pt idx="375">
                  <c:v>4126849.3150684931</c:v>
                </c:pt>
                <c:pt idx="376">
                  <c:v>4135068.493150685</c:v>
                </c:pt>
                <c:pt idx="377">
                  <c:v>4143561.6438356168</c:v>
                </c:pt>
                <c:pt idx="378">
                  <c:v>4151780.8219178091</c:v>
                </c:pt>
                <c:pt idx="379">
                  <c:v>4160273.9726027399</c:v>
                </c:pt>
              </c:numCache>
            </c:numRef>
          </c:val>
          <c:smooth val="0"/>
          <c:extLst>
            <c:ext xmlns:c16="http://schemas.microsoft.com/office/drawing/2014/chart" uri="{C3380CC4-5D6E-409C-BE32-E72D297353CC}">
              <c16:uniqueId val="{00000000-83AC-4FD4-A810-4BB0F3E2D6FF}"/>
            </c:ext>
          </c:extLst>
        </c:ser>
        <c:ser>
          <c:idx val="1"/>
          <c:order val="1"/>
          <c:tx>
            <c:strRef>
              <c:f>'Interest accrual'!$D$7</c:f>
              <c:strCache>
                <c:ptCount val="1"/>
                <c:pt idx="0">
                  <c:v> Compounded </c:v>
                </c:pt>
              </c:strCache>
            </c:strRef>
          </c:tx>
          <c:spPr>
            <a:ln w="28575" cap="rnd">
              <a:solidFill>
                <a:schemeClr val="accent2"/>
              </a:solidFill>
              <a:round/>
            </a:ln>
            <a:effectLst/>
          </c:spPr>
          <c:marker>
            <c:symbol val="none"/>
          </c:marker>
          <c:cat>
            <c:numRef>
              <c:f>'Interest accrual'!$B$8:$B$387</c:f>
              <c:numCache>
                <c:formatCode>d/m/yy;@</c:formatCode>
                <c:ptCount val="380"/>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pt idx="39">
                  <c:v>45383</c:v>
                </c:pt>
                <c:pt idx="40">
                  <c:v>45413</c:v>
                </c:pt>
                <c:pt idx="41">
                  <c:v>45444</c:v>
                </c:pt>
                <c:pt idx="42">
                  <c:v>45474</c:v>
                </c:pt>
                <c:pt idx="43">
                  <c:v>45505</c:v>
                </c:pt>
                <c:pt idx="44">
                  <c:v>45536</c:v>
                </c:pt>
                <c:pt idx="45">
                  <c:v>45566</c:v>
                </c:pt>
                <c:pt idx="46">
                  <c:v>45597</c:v>
                </c:pt>
                <c:pt idx="47">
                  <c:v>45627</c:v>
                </c:pt>
                <c:pt idx="48">
                  <c:v>45658</c:v>
                </c:pt>
                <c:pt idx="49">
                  <c:v>45689</c:v>
                </c:pt>
                <c:pt idx="50">
                  <c:v>45717</c:v>
                </c:pt>
                <c:pt idx="51">
                  <c:v>45748</c:v>
                </c:pt>
                <c:pt idx="52">
                  <c:v>45778</c:v>
                </c:pt>
                <c:pt idx="53">
                  <c:v>45809</c:v>
                </c:pt>
                <c:pt idx="54">
                  <c:v>45839</c:v>
                </c:pt>
                <c:pt idx="55">
                  <c:v>45870</c:v>
                </c:pt>
                <c:pt idx="56">
                  <c:v>45901</c:v>
                </c:pt>
                <c:pt idx="57">
                  <c:v>45931</c:v>
                </c:pt>
                <c:pt idx="58">
                  <c:v>45962</c:v>
                </c:pt>
                <c:pt idx="59">
                  <c:v>45992</c:v>
                </c:pt>
                <c:pt idx="60">
                  <c:v>46023</c:v>
                </c:pt>
                <c:pt idx="61">
                  <c:v>46054</c:v>
                </c:pt>
                <c:pt idx="62">
                  <c:v>46082</c:v>
                </c:pt>
                <c:pt idx="63">
                  <c:v>46113</c:v>
                </c:pt>
                <c:pt idx="64">
                  <c:v>46143</c:v>
                </c:pt>
                <c:pt idx="65">
                  <c:v>46174</c:v>
                </c:pt>
                <c:pt idx="66">
                  <c:v>46204</c:v>
                </c:pt>
                <c:pt idx="67">
                  <c:v>46235</c:v>
                </c:pt>
                <c:pt idx="68">
                  <c:v>46266</c:v>
                </c:pt>
                <c:pt idx="69">
                  <c:v>46296</c:v>
                </c:pt>
                <c:pt idx="70">
                  <c:v>46327</c:v>
                </c:pt>
                <c:pt idx="71">
                  <c:v>46357</c:v>
                </c:pt>
                <c:pt idx="72">
                  <c:v>46388</c:v>
                </c:pt>
                <c:pt idx="73">
                  <c:v>46419</c:v>
                </c:pt>
                <c:pt idx="74">
                  <c:v>46447</c:v>
                </c:pt>
                <c:pt idx="75">
                  <c:v>46478</c:v>
                </c:pt>
                <c:pt idx="76">
                  <c:v>46508</c:v>
                </c:pt>
                <c:pt idx="77">
                  <c:v>46539</c:v>
                </c:pt>
                <c:pt idx="78">
                  <c:v>46569</c:v>
                </c:pt>
                <c:pt idx="79">
                  <c:v>46600</c:v>
                </c:pt>
                <c:pt idx="80">
                  <c:v>46631</c:v>
                </c:pt>
                <c:pt idx="81">
                  <c:v>46661</c:v>
                </c:pt>
                <c:pt idx="82">
                  <c:v>46692</c:v>
                </c:pt>
                <c:pt idx="83">
                  <c:v>46722</c:v>
                </c:pt>
                <c:pt idx="84">
                  <c:v>46753</c:v>
                </c:pt>
                <c:pt idx="85">
                  <c:v>46784</c:v>
                </c:pt>
                <c:pt idx="86">
                  <c:v>46813</c:v>
                </c:pt>
                <c:pt idx="87">
                  <c:v>46844</c:v>
                </c:pt>
                <c:pt idx="88">
                  <c:v>46874</c:v>
                </c:pt>
                <c:pt idx="89">
                  <c:v>46905</c:v>
                </c:pt>
                <c:pt idx="90">
                  <c:v>46935</c:v>
                </c:pt>
                <c:pt idx="91">
                  <c:v>46966</c:v>
                </c:pt>
                <c:pt idx="92">
                  <c:v>46997</c:v>
                </c:pt>
                <c:pt idx="93">
                  <c:v>47027</c:v>
                </c:pt>
                <c:pt idx="94">
                  <c:v>47058</c:v>
                </c:pt>
                <c:pt idx="95">
                  <c:v>47088</c:v>
                </c:pt>
                <c:pt idx="96">
                  <c:v>47119</c:v>
                </c:pt>
                <c:pt idx="97">
                  <c:v>47150</c:v>
                </c:pt>
                <c:pt idx="98">
                  <c:v>47178</c:v>
                </c:pt>
                <c:pt idx="99">
                  <c:v>47209</c:v>
                </c:pt>
                <c:pt idx="100">
                  <c:v>47239</c:v>
                </c:pt>
                <c:pt idx="101">
                  <c:v>47270</c:v>
                </c:pt>
                <c:pt idx="102">
                  <c:v>47300</c:v>
                </c:pt>
                <c:pt idx="103">
                  <c:v>47331</c:v>
                </c:pt>
                <c:pt idx="104">
                  <c:v>47362</c:v>
                </c:pt>
                <c:pt idx="105">
                  <c:v>47392</c:v>
                </c:pt>
                <c:pt idx="106">
                  <c:v>47423</c:v>
                </c:pt>
                <c:pt idx="107">
                  <c:v>47453</c:v>
                </c:pt>
                <c:pt idx="108">
                  <c:v>47484</c:v>
                </c:pt>
                <c:pt idx="109">
                  <c:v>47515</c:v>
                </c:pt>
                <c:pt idx="110">
                  <c:v>47543</c:v>
                </c:pt>
                <c:pt idx="111">
                  <c:v>47574</c:v>
                </c:pt>
                <c:pt idx="112">
                  <c:v>47604</c:v>
                </c:pt>
                <c:pt idx="113">
                  <c:v>47635</c:v>
                </c:pt>
                <c:pt idx="114">
                  <c:v>47665</c:v>
                </c:pt>
                <c:pt idx="115">
                  <c:v>47696</c:v>
                </c:pt>
                <c:pt idx="116">
                  <c:v>47727</c:v>
                </c:pt>
                <c:pt idx="117">
                  <c:v>47757</c:v>
                </c:pt>
                <c:pt idx="118">
                  <c:v>47788</c:v>
                </c:pt>
                <c:pt idx="119">
                  <c:v>47818</c:v>
                </c:pt>
                <c:pt idx="120">
                  <c:v>47849</c:v>
                </c:pt>
                <c:pt idx="121">
                  <c:v>47880</c:v>
                </c:pt>
                <c:pt idx="122">
                  <c:v>47908</c:v>
                </c:pt>
                <c:pt idx="123">
                  <c:v>47939</c:v>
                </c:pt>
                <c:pt idx="124">
                  <c:v>47969</c:v>
                </c:pt>
                <c:pt idx="125">
                  <c:v>48000</c:v>
                </c:pt>
                <c:pt idx="126">
                  <c:v>48030</c:v>
                </c:pt>
                <c:pt idx="127">
                  <c:v>48061</c:v>
                </c:pt>
                <c:pt idx="128">
                  <c:v>48092</c:v>
                </c:pt>
                <c:pt idx="129">
                  <c:v>48122</c:v>
                </c:pt>
                <c:pt idx="130">
                  <c:v>48153</c:v>
                </c:pt>
                <c:pt idx="131">
                  <c:v>48183</c:v>
                </c:pt>
                <c:pt idx="132">
                  <c:v>48214</c:v>
                </c:pt>
                <c:pt idx="133">
                  <c:v>48245</c:v>
                </c:pt>
                <c:pt idx="134">
                  <c:v>48274</c:v>
                </c:pt>
                <c:pt idx="135">
                  <c:v>48305</c:v>
                </c:pt>
                <c:pt idx="136">
                  <c:v>48335</c:v>
                </c:pt>
                <c:pt idx="137">
                  <c:v>48366</c:v>
                </c:pt>
                <c:pt idx="138">
                  <c:v>48396</c:v>
                </c:pt>
                <c:pt idx="139">
                  <c:v>48427</c:v>
                </c:pt>
                <c:pt idx="140">
                  <c:v>48458</c:v>
                </c:pt>
                <c:pt idx="141">
                  <c:v>48488</c:v>
                </c:pt>
                <c:pt idx="142">
                  <c:v>48519</c:v>
                </c:pt>
                <c:pt idx="143">
                  <c:v>48549</c:v>
                </c:pt>
                <c:pt idx="144">
                  <c:v>48580</c:v>
                </c:pt>
                <c:pt idx="145">
                  <c:v>48611</c:v>
                </c:pt>
                <c:pt idx="146">
                  <c:v>48639</c:v>
                </c:pt>
                <c:pt idx="147">
                  <c:v>48670</c:v>
                </c:pt>
                <c:pt idx="148">
                  <c:v>48700</c:v>
                </c:pt>
                <c:pt idx="149">
                  <c:v>48731</c:v>
                </c:pt>
                <c:pt idx="150">
                  <c:v>48761</c:v>
                </c:pt>
                <c:pt idx="151">
                  <c:v>48792</c:v>
                </c:pt>
                <c:pt idx="152">
                  <c:v>48823</c:v>
                </c:pt>
                <c:pt idx="153">
                  <c:v>48853</c:v>
                </c:pt>
                <c:pt idx="154">
                  <c:v>48884</c:v>
                </c:pt>
                <c:pt idx="155">
                  <c:v>48914</c:v>
                </c:pt>
                <c:pt idx="156">
                  <c:v>48945</c:v>
                </c:pt>
                <c:pt idx="157">
                  <c:v>48976</c:v>
                </c:pt>
                <c:pt idx="158">
                  <c:v>49004</c:v>
                </c:pt>
                <c:pt idx="159">
                  <c:v>49035</c:v>
                </c:pt>
                <c:pt idx="160">
                  <c:v>49065</c:v>
                </c:pt>
                <c:pt idx="161">
                  <c:v>49096</c:v>
                </c:pt>
                <c:pt idx="162">
                  <c:v>49126</c:v>
                </c:pt>
                <c:pt idx="163">
                  <c:v>49157</c:v>
                </c:pt>
                <c:pt idx="164">
                  <c:v>49188</c:v>
                </c:pt>
                <c:pt idx="165">
                  <c:v>49218</c:v>
                </c:pt>
                <c:pt idx="166">
                  <c:v>49249</c:v>
                </c:pt>
                <c:pt idx="167">
                  <c:v>49279</c:v>
                </c:pt>
                <c:pt idx="168">
                  <c:v>49310</c:v>
                </c:pt>
                <c:pt idx="169">
                  <c:v>49341</c:v>
                </c:pt>
                <c:pt idx="170">
                  <c:v>49369</c:v>
                </c:pt>
                <c:pt idx="171">
                  <c:v>49400</c:v>
                </c:pt>
                <c:pt idx="172">
                  <c:v>49430</c:v>
                </c:pt>
                <c:pt idx="173">
                  <c:v>49461</c:v>
                </c:pt>
                <c:pt idx="174">
                  <c:v>49491</c:v>
                </c:pt>
                <c:pt idx="175">
                  <c:v>49522</c:v>
                </c:pt>
                <c:pt idx="176">
                  <c:v>49553</c:v>
                </c:pt>
                <c:pt idx="177">
                  <c:v>49583</c:v>
                </c:pt>
                <c:pt idx="178">
                  <c:v>49614</c:v>
                </c:pt>
                <c:pt idx="179">
                  <c:v>49644</c:v>
                </c:pt>
                <c:pt idx="180">
                  <c:v>49675</c:v>
                </c:pt>
                <c:pt idx="181">
                  <c:v>49706</c:v>
                </c:pt>
                <c:pt idx="182">
                  <c:v>49735</c:v>
                </c:pt>
                <c:pt idx="183">
                  <c:v>49766</c:v>
                </c:pt>
                <c:pt idx="184">
                  <c:v>49796</c:v>
                </c:pt>
                <c:pt idx="185">
                  <c:v>49827</c:v>
                </c:pt>
                <c:pt idx="186">
                  <c:v>49857</c:v>
                </c:pt>
                <c:pt idx="187">
                  <c:v>49888</c:v>
                </c:pt>
                <c:pt idx="188">
                  <c:v>49919</c:v>
                </c:pt>
                <c:pt idx="189">
                  <c:v>49949</c:v>
                </c:pt>
                <c:pt idx="190">
                  <c:v>49980</c:v>
                </c:pt>
                <c:pt idx="191">
                  <c:v>50010</c:v>
                </c:pt>
                <c:pt idx="192">
                  <c:v>50041</c:v>
                </c:pt>
                <c:pt idx="193">
                  <c:v>50072</c:v>
                </c:pt>
                <c:pt idx="194">
                  <c:v>50100</c:v>
                </c:pt>
                <c:pt idx="195">
                  <c:v>50131</c:v>
                </c:pt>
                <c:pt idx="196">
                  <c:v>50161</c:v>
                </c:pt>
                <c:pt idx="197">
                  <c:v>50192</c:v>
                </c:pt>
                <c:pt idx="198">
                  <c:v>50222</c:v>
                </c:pt>
                <c:pt idx="199">
                  <c:v>50253</c:v>
                </c:pt>
                <c:pt idx="200">
                  <c:v>50284</c:v>
                </c:pt>
                <c:pt idx="201">
                  <c:v>50314</c:v>
                </c:pt>
                <c:pt idx="202">
                  <c:v>50345</c:v>
                </c:pt>
                <c:pt idx="203">
                  <c:v>50375</c:v>
                </c:pt>
                <c:pt idx="204">
                  <c:v>50406</c:v>
                </c:pt>
                <c:pt idx="205">
                  <c:v>50437</c:v>
                </c:pt>
                <c:pt idx="206">
                  <c:v>50465</c:v>
                </c:pt>
                <c:pt idx="207">
                  <c:v>50496</c:v>
                </c:pt>
                <c:pt idx="208">
                  <c:v>50526</c:v>
                </c:pt>
                <c:pt idx="209">
                  <c:v>50557</c:v>
                </c:pt>
                <c:pt idx="210">
                  <c:v>50587</c:v>
                </c:pt>
                <c:pt idx="211">
                  <c:v>50618</c:v>
                </c:pt>
                <c:pt idx="212">
                  <c:v>50649</c:v>
                </c:pt>
                <c:pt idx="213">
                  <c:v>50679</c:v>
                </c:pt>
                <c:pt idx="214">
                  <c:v>50710</c:v>
                </c:pt>
                <c:pt idx="215">
                  <c:v>50740</c:v>
                </c:pt>
                <c:pt idx="216">
                  <c:v>50771</c:v>
                </c:pt>
                <c:pt idx="217">
                  <c:v>50802</c:v>
                </c:pt>
                <c:pt idx="218">
                  <c:v>50830</c:v>
                </c:pt>
                <c:pt idx="219">
                  <c:v>50861</c:v>
                </c:pt>
                <c:pt idx="220">
                  <c:v>50891</c:v>
                </c:pt>
                <c:pt idx="221">
                  <c:v>50922</c:v>
                </c:pt>
                <c:pt idx="222">
                  <c:v>50952</c:v>
                </c:pt>
                <c:pt idx="223">
                  <c:v>50983</c:v>
                </c:pt>
                <c:pt idx="224">
                  <c:v>51014</c:v>
                </c:pt>
                <c:pt idx="225">
                  <c:v>51044</c:v>
                </c:pt>
                <c:pt idx="226">
                  <c:v>51075</c:v>
                </c:pt>
                <c:pt idx="227">
                  <c:v>51105</c:v>
                </c:pt>
                <c:pt idx="228">
                  <c:v>51136</c:v>
                </c:pt>
                <c:pt idx="229">
                  <c:v>51167</c:v>
                </c:pt>
                <c:pt idx="230">
                  <c:v>51196</c:v>
                </c:pt>
                <c:pt idx="231">
                  <c:v>51227</c:v>
                </c:pt>
                <c:pt idx="232">
                  <c:v>51257</c:v>
                </c:pt>
                <c:pt idx="233">
                  <c:v>51288</c:v>
                </c:pt>
                <c:pt idx="234">
                  <c:v>51318</c:v>
                </c:pt>
                <c:pt idx="235">
                  <c:v>51349</c:v>
                </c:pt>
                <c:pt idx="236">
                  <c:v>51380</c:v>
                </c:pt>
                <c:pt idx="237">
                  <c:v>51410</c:v>
                </c:pt>
                <c:pt idx="238">
                  <c:v>51441</c:v>
                </c:pt>
                <c:pt idx="239">
                  <c:v>51471</c:v>
                </c:pt>
                <c:pt idx="240">
                  <c:v>51502</c:v>
                </c:pt>
                <c:pt idx="241">
                  <c:v>51533</c:v>
                </c:pt>
                <c:pt idx="242">
                  <c:v>51561</c:v>
                </c:pt>
                <c:pt idx="243">
                  <c:v>51592</c:v>
                </c:pt>
                <c:pt idx="244">
                  <c:v>51622</c:v>
                </c:pt>
                <c:pt idx="245">
                  <c:v>51653</c:v>
                </c:pt>
                <c:pt idx="246">
                  <c:v>51683</c:v>
                </c:pt>
                <c:pt idx="247">
                  <c:v>51714</c:v>
                </c:pt>
                <c:pt idx="248">
                  <c:v>51745</c:v>
                </c:pt>
                <c:pt idx="249">
                  <c:v>51775</c:v>
                </c:pt>
                <c:pt idx="250">
                  <c:v>51806</c:v>
                </c:pt>
                <c:pt idx="251">
                  <c:v>51836</c:v>
                </c:pt>
                <c:pt idx="252">
                  <c:v>51867</c:v>
                </c:pt>
                <c:pt idx="253">
                  <c:v>51898</c:v>
                </c:pt>
                <c:pt idx="254">
                  <c:v>51926</c:v>
                </c:pt>
                <c:pt idx="255">
                  <c:v>51957</c:v>
                </c:pt>
                <c:pt idx="256">
                  <c:v>51987</c:v>
                </c:pt>
                <c:pt idx="257">
                  <c:v>52018</c:v>
                </c:pt>
                <c:pt idx="258">
                  <c:v>52048</c:v>
                </c:pt>
                <c:pt idx="259">
                  <c:v>52079</c:v>
                </c:pt>
                <c:pt idx="260">
                  <c:v>52110</c:v>
                </c:pt>
                <c:pt idx="261">
                  <c:v>52140</c:v>
                </c:pt>
                <c:pt idx="262">
                  <c:v>52171</c:v>
                </c:pt>
                <c:pt idx="263">
                  <c:v>52201</c:v>
                </c:pt>
                <c:pt idx="264">
                  <c:v>52232</c:v>
                </c:pt>
                <c:pt idx="265">
                  <c:v>52263</c:v>
                </c:pt>
                <c:pt idx="266">
                  <c:v>52291</c:v>
                </c:pt>
                <c:pt idx="267">
                  <c:v>52322</c:v>
                </c:pt>
                <c:pt idx="268">
                  <c:v>52352</c:v>
                </c:pt>
                <c:pt idx="269">
                  <c:v>52383</c:v>
                </c:pt>
                <c:pt idx="270">
                  <c:v>52413</c:v>
                </c:pt>
                <c:pt idx="271">
                  <c:v>52444</c:v>
                </c:pt>
                <c:pt idx="272">
                  <c:v>52475</c:v>
                </c:pt>
                <c:pt idx="273">
                  <c:v>52505</c:v>
                </c:pt>
                <c:pt idx="274">
                  <c:v>52536</c:v>
                </c:pt>
                <c:pt idx="275">
                  <c:v>52566</c:v>
                </c:pt>
                <c:pt idx="276">
                  <c:v>52597</c:v>
                </c:pt>
                <c:pt idx="277">
                  <c:v>52628</c:v>
                </c:pt>
                <c:pt idx="278">
                  <c:v>52657</c:v>
                </c:pt>
                <c:pt idx="279">
                  <c:v>52688</c:v>
                </c:pt>
                <c:pt idx="280">
                  <c:v>52718</c:v>
                </c:pt>
                <c:pt idx="281">
                  <c:v>52749</c:v>
                </c:pt>
                <c:pt idx="282">
                  <c:v>52779</c:v>
                </c:pt>
                <c:pt idx="283">
                  <c:v>52810</c:v>
                </c:pt>
                <c:pt idx="284">
                  <c:v>52841</c:v>
                </c:pt>
                <c:pt idx="285">
                  <c:v>52871</c:v>
                </c:pt>
                <c:pt idx="286">
                  <c:v>52902</c:v>
                </c:pt>
                <c:pt idx="287">
                  <c:v>52932</c:v>
                </c:pt>
                <c:pt idx="288">
                  <c:v>52963</c:v>
                </c:pt>
                <c:pt idx="289">
                  <c:v>52994</c:v>
                </c:pt>
                <c:pt idx="290">
                  <c:v>53022</c:v>
                </c:pt>
                <c:pt idx="291">
                  <c:v>53053</c:v>
                </c:pt>
                <c:pt idx="292">
                  <c:v>53083</c:v>
                </c:pt>
                <c:pt idx="293">
                  <c:v>53114</c:v>
                </c:pt>
                <c:pt idx="294">
                  <c:v>53144</c:v>
                </c:pt>
                <c:pt idx="295">
                  <c:v>53175</c:v>
                </c:pt>
                <c:pt idx="296">
                  <c:v>53206</c:v>
                </c:pt>
                <c:pt idx="297">
                  <c:v>53236</c:v>
                </c:pt>
                <c:pt idx="298">
                  <c:v>53267</c:v>
                </c:pt>
                <c:pt idx="299">
                  <c:v>53297</c:v>
                </c:pt>
                <c:pt idx="300">
                  <c:v>53328</c:v>
                </c:pt>
                <c:pt idx="301">
                  <c:v>53359</c:v>
                </c:pt>
                <c:pt idx="302">
                  <c:v>53387</c:v>
                </c:pt>
                <c:pt idx="303">
                  <c:v>53418</c:v>
                </c:pt>
                <c:pt idx="304">
                  <c:v>53448</c:v>
                </c:pt>
                <c:pt idx="305">
                  <c:v>53479</c:v>
                </c:pt>
                <c:pt idx="306">
                  <c:v>53509</c:v>
                </c:pt>
                <c:pt idx="307">
                  <c:v>53540</c:v>
                </c:pt>
                <c:pt idx="308">
                  <c:v>53571</c:v>
                </c:pt>
                <c:pt idx="309">
                  <c:v>53601</c:v>
                </c:pt>
                <c:pt idx="310">
                  <c:v>53632</c:v>
                </c:pt>
                <c:pt idx="311">
                  <c:v>53662</c:v>
                </c:pt>
                <c:pt idx="312">
                  <c:v>53693</c:v>
                </c:pt>
                <c:pt idx="313">
                  <c:v>53724</c:v>
                </c:pt>
                <c:pt idx="314">
                  <c:v>53752</c:v>
                </c:pt>
                <c:pt idx="315">
                  <c:v>53783</c:v>
                </c:pt>
                <c:pt idx="316">
                  <c:v>53813</c:v>
                </c:pt>
                <c:pt idx="317">
                  <c:v>53844</c:v>
                </c:pt>
                <c:pt idx="318">
                  <c:v>53874</c:v>
                </c:pt>
                <c:pt idx="319">
                  <c:v>53905</c:v>
                </c:pt>
                <c:pt idx="320">
                  <c:v>53936</c:v>
                </c:pt>
                <c:pt idx="321">
                  <c:v>53966</c:v>
                </c:pt>
                <c:pt idx="322">
                  <c:v>53997</c:v>
                </c:pt>
                <c:pt idx="323">
                  <c:v>54027</c:v>
                </c:pt>
                <c:pt idx="324">
                  <c:v>54058</c:v>
                </c:pt>
                <c:pt idx="325">
                  <c:v>54089</c:v>
                </c:pt>
                <c:pt idx="326">
                  <c:v>54118</c:v>
                </c:pt>
                <c:pt idx="327">
                  <c:v>54149</c:v>
                </c:pt>
                <c:pt idx="328">
                  <c:v>54179</c:v>
                </c:pt>
                <c:pt idx="329">
                  <c:v>54210</c:v>
                </c:pt>
                <c:pt idx="330">
                  <c:v>54240</c:v>
                </c:pt>
                <c:pt idx="331">
                  <c:v>54271</c:v>
                </c:pt>
                <c:pt idx="332">
                  <c:v>54302</c:v>
                </c:pt>
                <c:pt idx="333">
                  <c:v>54332</c:v>
                </c:pt>
                <c:pt idx="334">
                  <c:v>54363</c:v>
                </c:pt>
                <c:pt idx="335">
                  <c:v>54393</c:v>
                </c:pt>
                <c:pt idx="336">
                  <c:v>54424</c:v>
                </c:pt>
                <c:pt idx="337">
                  <c:v>54455</c:v>
                </c:pt>
                <c:pt idx="338">
                  <c:v>54483</c:v>
                </c:pt>
                <c:pt idx="339">
                  <c:v>54514</c:v>
                </c:pt>
                <c:pt idx="340">
                  <c:v>54544</c:v>
                </c:pt>
                <c:pt idx="341">
                  <c:v>54575</c:v>
                </c:pt>
                <c:pt idx="342">
                  <c:v>54605</c:v>
                </c:pt>
                <c:pt idx="343">
                  <c:v>54636</c:v>
                </c:pt>
                <c:pt idx="344">
                  <c:v>54667</c:v>
                </c:pt>
                <c:pt idx="345">
                  <c:v>54697</c:v>
                </c:pt>
                <c:pt idx="346">
                  <c:v>54728</c:v>
                </c:pt>
                <c:pt idx="347">
                  <c:v>54758</c:v>
                </c:pt>
                <c:pt idx="348">
                  <c:v>54789</c:v>
                </c:pt>
                <c:pt idx="349">
                  <c:v>54820</c:v>
                </c:pt>
                <c:pt idx="350">
                  <c:v>54848</c:v>
                </c:pt>
                <c:pt idx="351">
                  <c:v>54879</c:v>
                </c:pt>
                <c:pt idx="352">
                  <c:v>54909</c:v>
                </c:pt>
                <c:pt idx="353">
                  <c:v>54940</c:v>
                </c:pt>
                <c:pt idx="354">
                  <c:v>54970</c:v>
                </c:pt>
                <c:pt idx="355">
                  <c:v>55001</c:v>
                </c:pt>
                <c:pt idx="356">
                  <c:v>55032</c:v>
                </c:pt>
                <c:pt idx="357">
                  <c:v>55062</c:v>
                </c:pt>
                <c:pt idx="358">
                  <c:v>55093</c:v>
                </c:pt>
                <c:pt idx="359">
                  <c:v>55123</c:v>
                </c:pt>
                <c:pt idx="360">
                  <c:v>55154</c:v>
                </c:pt>
                <c:pt idx="361">
                  <c:v>55185</c:v>
                </c:pt>
                <c:pt idx="362">
                  <c:v>55213</c:v>
                </c:pt>
                <c:pt idx="363">
                  <c:v>55244</c:v>
                </c:pt>
                <c:pt idx="364">
                  <c:v>55274</c:v>
                </c:pt>
                <c:pt idx="365">
                  <c:v>55305</c:v>
                </c:pt>
                <c:pt idx="366">
                  <c:v>55335</c:v>
                </c:pt>
                <c:pt idx="367">
                  <c:v>55366</c:v>
                </c:pt>
                <c:pt idx="368">
                  <c:v>55397</c:v>
                </c:pt>
                <c:pt idx="369">
                  <c:v>55427</c:v>
                </c:pt>
                <c:pt idx="370">
                  <c:v>55458</c:v>
                </c:pt>
                <c:pt idx="371">
                  <c:v>55488</c:v>
                </c:pt>
                <c:pt idx="372">
                  <c:v>55519</c:v>
                </c:pt>
                <c:pt idx="373">
                  <c:v>55550</c:v>
                </c:pt>
                <c:pt idx="374">
                  <c:v>55579</c:v>
                </c:pt>
                <c:pt idx="375">
                  <c:v>55610</c:v>
                </c:pt>
                <c:pt idx="376">
                  <c:v>55640</c:v>
                </c:pt>
                <c:pt idx="377">
                  <c:v>55671</c:v>
                </c:pt>
                <c:pt idx="378">
                  <c:v>55701</c:v>
                </c:pt>
                <c:pt idx="379">
                  <c:v>55732</c:v>
                </c:pt>
              </c:numCache>
            </c:numRef>
          </c:cat>
          <c:val>
            <c:numRef>
              <c:f>'Interest accrual'!$D$8:$D$387</c:f>
              <c:numCache>
                <c:formatCode>_(* #,##0_);_(* \(#,##0\);_(* "-"??_);_(@_)</c:formatCode>
                <c:ptCount val="380"/>
                <c:pt idx="0">
                  <c:v>1000000</c:v>
                </c:pt>
                <c:pt idx="1">
                  <c:v>1008127.688966854</c:v>
                </c:pt>
                <c:pt idx="2">
                  <c:v>1015525.5919365087</c:v>
                </c:pt>
                <c:pt idx="3">
                  <c:v>1023779.468085649</c:v>
                </c:pt>
                <c:pt idx="4">
                  <c:v>1031830.9583913459</c:v>
                </c:pt>
                <c:pt idx="5">
                  <c:v>1040217.3594875215</c:v>
                </c:pt>
                <c:pt idx="6">
                  <c:v>1048398.1252157033</c:v>
                </c:pt>
                <c:pt idx="7">
                  <c:v>1056919.1790908894</c:v>
                </c:pt>
                <c:pt idx="8">
                  <c:v>1065509.4894416428</c:v>
                </c:pt>
                <c:pt idx="9">
                  <c:v>1073889.16454971</c:v>
                </c:pt>
                <c:pt idx="10">
                  <c:v>1082617.4016640447</c:v>
                </c:pt>
                <c:pt idx="11">
                  <c:v>1091131.6215580772</c:v>
                </c:pt>
                <c:pt idx="12">
                  <c:v>1100000</c:v>
                </c:pt>
                <c:pt idx="13">
                  <c:v>1108940.4578635395</c:v>
                </c:pt>
                <c:pt idx="14">
                  <c:v>1117078.1511301596</c:v>
                </c:pt>
                <c:pt idx="15">
                  <c:v>1126157.4148942139</c:v>
                </c:pt>
                <c:pt idx="16">
                  <c:v>1135014.0542304805</c:v>
                </c:pt>
                <c:pt idx="17">
                  <c:v>1144239.0954362738</c:v>
                </c:pt>
                <c:pt idx="18">
                  <c:v>1153237.937737274</c:v>
                </c:pt>
                <c:pt idx="19">
                  <c:v>1162611.0969999786</c:v>
                </c:pt>
                <c:pt idx="20">
                  <c:v>1172060.438385807</c:v>
                </c:pt>
                <c:pt idx="21">
                  <c:v>1181278.0810046808</c:v>
                </c:pt>
                <c:pt idx="22">
                  <c:v>1190879.1418304492</c:v>
                </c:pt>
                <c:pt idx="23">
                  <c:v>1200244.7837138847</c:v>
                </c:pt>
                <c:pt idx="24">
                  <c:v>1210000.0000000002</c:v>
                </c:pt>
                <c:pt idx="25">
                  <c:v>1219834.5036498934</c:v>
                </c:pt>
                <c:pt idx="26">
                  <c:v>1228785.9662431758</c:v>
                </c:pt>
                <c:pt idx="27">
                  <c:v>1238773.1563836352</c:v>
                </c:pt>
                <c:pt idx="28">
                  <c:v>1248515.4596535286</c:v>
                </c:pt>
                <c:pt idx="29">
                  <c:v>1258663.0049799012</c:v>
                </c:pt>
                <c:pt idx="30">
                  <c:v>1268561.7315110012</c:v>
                </c:pt>
                <c:pt idx="31">
                  <c:v>1278872.2066999765</c:v>
                </c:pt>
                <c:pt idx="32">
                  <c:v>1289266.482224388</c:v>
                </c:pt>
                <c:pt idx="33">
                  <c:v>1299405.8891051493</c:v>
                </c:pt>
                <c:pt idx="34">
                  <c:v>1309967.0560134943</c:v>
                </c:pt>
                <c:pt idx="35">
                  <c:v>1320269.2620852734</c:v>
                </c:pt>
                <c:pt idx="36">
                  <c:v>1331000.0000000005</c:v>
                </c:pt>
                <c:pt idx="37">
                  <c:v>1341817.9540148829</c:v>
                </c:pt>
                <c:pt idx="38">
                  <c:v>1352017.5607138879</c:v>
                </c:pt>
                <c:pt idx="39">
                  <c:v>1363006.338925095</c:v>
                </c:pt>
                <c:pt idx="40">
                  <c:v>1373725.6712291306</c:v>
                </c:pt>
                <c:pt idx="41">
                  <c:v>1384890.8862106637</c:v>
                </c:pt>
                <c:pt idx="42">
                  <c:v>1395782.3290383101</c:v>
                </c:pt>
                <c:pt idx="43">
                  <c:v>1407126.8136741645</c:v>
                </c:pt>
                <c:pt idx="44">
                  <c:v>1418563.5027526284</c:v>
                </c:pt>
                <c:pt idx="45">
                  <c:v>1429719.7631060276</c:v>
                </c:pt>
                <c:pt idx="46">
                  <c:v>1441340.0806503177</c:v>
                </c:pt>
                <c:pt idx="47">
                  <c:v>1452675.4668817569</c:v>
                </c:pt>
                <c:pt idx="48">
                  <c:v>1464482.3612463514</c:v>
                </c:pt>
                <c:pt idx="49">
                  <c:v>1476385.2183760055</c:v>
                </c:pt>
                <c:pt idx="50">
                  <c:v>1487219.3167852766</c:v>
                </c:pt>
                <c:pt idx="51">
                  <c:v>1499306.9728176047</c:v>
                </c:pt>
                <c:pt idx="52">
                  <c:v>1511098.2383520438</c:v>
                </c:pt>
                <c:pt idx="53">
                  <c:v>1523379.9748317301</c:v>
                </c:pt>
                <c:pt idx="54">
                  <c:v>1535360.5619421413</c:v>
                </c:pt>
                <c:pt idx="55">
                  <c:v>1547839.4950415811</c:v>
                </c:pt>
                <c:pt idx="56">
                  <c:v>1560419.8530278914</c:v>
                </c:pt>
                <c:pt idx="57">
                  <c:v>1572691.7394166307</c:v>
                </c:pt>
                <c:pt idx="58">
                  <c:v>1585474.0887153496</c:v>
                </c:pt>
                <c:pt idx="59">
                  <c:v>1597943.0135699329</c:v>
                </c:pt>
                <c:pt idx="60">
                  <c:v>1610930.5973709866</c:v>
                </c:pt>
                <c:pt idx="61">
                  <c:v>1624023.7402136063</c:v>
                </c:pt>
                <c:pt idx="62">
                  <c:v>1635941.2484638048</c:v>
                </c:pt>
                <c:pt idx="63">
                  <c:v>1649237.6700993653</c:v>
                </c:pt>
                <c:pt idx="64">
                  <c:v>1662208.0621872481</c:v>
                </c:pt>
                <c:pt idx="65">
                  <c:v>1675717.972314903</c:v>
                </c:pt>
                <c:pt idx="66">
                  <c:v>1688896.6181363557</c:v>
                </c:pt>
                <c:pt idx="67">
                  <c:v>1702623.4445457393</c:v>
                </c:pt>
                <c:pt idx="68">
                  <c:v>1716461.8383306807</c:v>
                </c:pt>
                <c:pt idx="69">
                  <c:v>1729960.9133582939</c:v>
                </c:pt>
                <c:pt idx="70">
                  <c:v>1744021.4975868845</c:v>
                </c:pt>
                <c:pt idx="71">
                  <c:v>1757737.3149269263</c:v>
                </c:pt>
                <c:pt idx="72">
                  <c:v>1772023.6571080855</c:v>
                </c:pt>
                <c:pt idx="73">
                  <c:v>1786426.1142349669</c:v>
                </c:pt>
                <c:pt idx="74">
                  <c:v>1799535.3733101853</c:v>
                </c:pt>
                <c:pt idx="75">
                  <c:v>1814161.437109302</c:v>
                </c:pt>
                <c:pt idx="76">
                  <c:v>1828428.8684059731</c:v>
                </c:pt>
                <c:pt idx="77">
                  <c:v>1843289.7695463938</c:v>
                </c:pt>
                <c:pt idx="78">
                  <c:v>1857786.279949991</c:v>
                </c:pt>
                <c:pt idx="79">
                  <c:v>1872885.7890003135</c:v>
                </c:pt>
                <c:pt idx="80">
                  <c:v>1888108.022163749</c:v>
                </c:pt>
                <c:pt idx="81">
                  <c:v>1902957.0046941231</c:v>
                </c:pt>
                <c:pt idx="82">
                  <c:v>1918423.6473455732</c:v>
                </c:pt>
                <c:pt idx="83">
                  <c:v>1933511.0464196191</c:v>
                </c:pt>
                <c:pt idx="84">
                  <c:v>1949226.0228188941</c:v>
                </c:pt>
                <c:pt idx="85">
                  <c:v>1965068.7256584638</c:v>
                </c:pt>
                <c:pt idx="86">
                  <c:v>1980005.8697608067</c:v>
                </c:pt>
                <c:pt idx="87">
                  <c:v>1996098.7416227679</c:v>
                </c:pt>
                <c:pt idx="88">
                  <c:v>2011797.014706366</c:v>
                </c:pt>
                <c:pt idx="89">
                  <c:v>2028148.2751063446</c:v>
                </c:pt>
                <c:pt idx="90">
                  <c:v>2044098.6010159561</c:v>
                </c:pt>
                <c:pt idx="91">
                  <c:v>2060712.3986625951</c:v>
                </c:pt>
                <c:pt idx="92">
                  <c:v>2077461.2280890641</c:v>
                </c:pt>
                <c:pt idx="93">
                  <c:v>2093799.3745940898</c:v>
                </c:pt>
                <c:pt idx="94">
                  <c:v>2110817.1246697837</c:v>
                </c:pt>
                <c:pt idx="95">
                  <c:v>2127417.5978636411</c:v>
                </c:pt>
                <c:pt idx="96">
                  <c:v>2144708.5864016884</c:v>
                </c:pt>
                <c:pt idx="97">
                  <c:v>2162140.1107165026</c:v>
                </c:pt>
                <c:pt idx="98">
                  <c:v>2178006.4567368878</c:v>
                </c:pt>
                <c:pt idx="99">
                  <c:v>2195708.6157850451</c:v>
                </c:pt>
                <c:pt idx="100">
                  <c:v>2212976.7161770025</c:v>
                </c:pt>
                <c:pt idx="101">
                  <c:v>2230963.1026169793</c:v>
                </c:pt>
                <c:pt idx="102">
                  <c:v>2248508.4611175512</c:v>
                </c:pt>
                <c:pt idx="103">
                  <c:v>2266783.6385288546</c:v>
                </c:pt>
                <c:pt idx="104">
                  <c:v>2285207.3508979711</c:v>
                </c:pt>
                <c:pt idx="105">
                  <c:v>2303179.3120534988</c:v>
                </c:pt>
                <c:pt idx="106">
                  <c:v>2321898.8371367622</c:v>
                </c:pt>
                <c:pt idx="107">
                  <c:v>2340159.3576500053</c:v>
                </c:pt>
                <c:pt idx="108">
                  <c:v>2359179.4450418577</c:v>
                </c:pt>
                <c:pt idx="109">
                  <c:v>2378354.1217881534</c:v>
                </c:pt>
                <c:pt idx="110">
                  <c:v>2395807.1024105763</c:v>
                </c:pt>
                <c:pt idx="111">
                  <c:v>2415279.4773635496</c:v>
                </c:pt>
                <c:pt idx="112">
                  <c:v>2434274.3877947032</c:v>
                </c:pt>
                <c:pt idx="113">
                  <c:v>2454059.4128786772</c:v>
                </c:pt>
                <c:pt idx="114">
                  <c:v>2473359.307229307</c:v>
                </c:pt>
                <c:pt idx="115">
                  <c:v>2493462.0023817401</c:v>
                </c:pt>
                <c:pt idx="116">
                  <c:v>2513728.0859877686</c:v>
                </c:pt>
                <c:pt idx="117">
                  <c:v>2533497.2432588488</c:v>
                </c:pt>
                <c:pt idx="118">
                  <c:v>2554088.7208504388</c:v>
                </c:pt>
                <c:pt idx="119">
                  <c:v>2574175.2934150063</c:v>
                </c:pt>
                <c:pt idx="120">
                  <c:v>2595097.3895460432</c:v>
                </c:pt>
                <c:pt idx="121">
                  <c:v>2616189.5339669688</c:v>
                </c:pt>
                <c:pt idx="122">
                  <c:v>2635387.8126516347</c:v>
                </c:pt>
                <c:pt idx="123">
                  <c:v>2656807.4250999046</c:v>
                </c:pt>
                <c:pt idx="124">
                  <c:v>2677701.8265741733</c:v>
                </c:pt>
                <c:pt idx="125">
                  <c:v>2699465.3541665454</c:v>
                </c:pt>
                <c:pt idx="126">
                  <c:v>2720695.2379522379</c:v>
                </c:pt>
                <c:pt idx="127">
                  <c:v>2742808.2026199144</c:v>
                </c:pt>
                <c:pt idx="128">
                  <c:v>2765100.8945865449</c:v>
                </c:pt>
                <c:pt idx="129">
                  <c:v>2786846.9675847339</c:v>
                </c:pt>
                <c:pt idx="130">
                  <c:v>2809497.592935483</c:v>
                </c:pt>
                <c:pt idx="131">
                  <c:v>2831592.8227565074</c:v>
                </c:pt>
                <c:pt idx="132">
                  <c:v>2854607.1285006483</c:v>
                </c:pt>
                <c:pt idx="133">
                  <c:v>2877808.4873636658</c:v>
                </c:pt>
                <c:pt idx="134">
                  <c:v>2899683.6714289417</c:v>
                </c:pt>
                <c:pt idx="135">
                  <c:v>2923251.3984125815</c:v>
                </c:pt>
                <c:pt idx="136">
                  <c:v>2946241.2424455397</c:v>
                </c:pt>
                <c:pt idx="137">
                  <c:v>2970187.3748854538</c:v>
                </c:pt>
                <c:pt idx="138">
                  <c:v>2993546.3458362105</c:v>
                </c:pt>
                <c:pt idx="139">
                  <c:v>3017876.9594430295</c:v>
                </c:pt>
                <c:pt idx="140">
                  <c:v>3042405.3247096171</c:v>
                </c:pt>
                <c:pt idx="141">
                  <c:v>3066332.2520816852</c:v>
                </c:pt>
                <c:pt idx="142">
                  <c:v>3091254.4468956385</c:v>
                </c:pt>
                <c:pt idx="143">
                  <c:v>3115565.5470763864</c:v>
                </c:pt>
                <c:pt idx="144">
                  <c:v>3140887.8947988688</c:v>
                </c:pt>
                <c:pt idx="145">
                  <c:v>3166416.0546875512</c:v>
                </c:pt>
                <c:pt idx="146">
                  <c:v>3189652.0385718364</c:v>
                </c:pt>
                <c:pt idx="147">
                  <c:v>3215576.5382538396</c:v>
                </c:pt>
                <c:pt idx="148">
                  <c:v>3240865.3666900937</c:v>
                </c:pt>
                <c:pt idx="149">
                  <c:v>3267206.1123739998</c:v>
                </c:pt>
                <c:pt idx="150">
                  <c:v>3292900.9804198323</c:v>
                </c:pt>
                <c:pt idx="151">
                  <c:v>3319664.6553873322</c:v>
                </c:pt>
                <c:pt idx="152">
                  <c:v>3346645.8571805796</c:v>
                </c:pt>
                <c:pt idx="153">
                  <c:v>3372965.4772898545</c:v>
                </c:pt>
                <c:pt idx="154">
                  <c:v>3400379.8915852024</c:v>
                </c:pt>
                <c:pt idx="155">
                  <c:v>3427122.1017840253</c:v>
                </c:pt>
                <c:pt idx="156">
                  <c:v>3454976.6842787564</c:v>
                </c:pt>
                <c:pt idx="157">
                  <c:v>3483057.6601563068</c:v>
                </c:pt>
                <c:pt idx="158">
                  <c:v>3508617.2424290203</c:v>
                </c:pt>
                <c:pt idx="159">
                  <c:v>3537134.1920792242</c:v>
                </c:pt>
                <c:pt idx="160">
                  <c:v>3564951.9033591039</c:v>
                </c:pt>
                <c:pt idx="161">
                  <c:v>3593926.7236114</c:v>
                </c:pt>
                <c:pt idx="162">
                  <c:v>3622191.0784618161</c:v>
                </c:pt>
                <c:pt idx="163">
                  <c:v>3651631.1209260663</c:v>
                </c:pt>
                <c:pt idx="164">
                  <c:v>3681310.4428986376</c:v>
                </c:pt>
                <c:pt idx="165">
                  <c:v>3710262.0250188406</c:v>
                </c:pt>
                <c:pt idx="166">
                  <c:v>3740417.8807437238</c:v>
                </c:pt>
                <c:pt idx="167">
                  <c:v>3769834.3119624276</c:v>
                </c:pt>
                <c:pt idx="168">
                  <c:v>3800474.3527066326</c:v>
                </c:pt>
                <c:pt idx="169">
                  <c:v>3831363.426171938</c:v>
                </c:pt>
                <c:pt idx="170">
                  <c:v>3859478.9666719232</c:v>
                </c:pt>
                <c:pt idx="171">
                  <c:v>3890847.6112871473</c:v>
                </c:pt>
                <c:pt idx="172">
                  <c:v>3921447.0936950138</c:v>
                </c:pt>
                <c:pt idx="173">
                  <c:v>3953319.3959725406</c:v>
                </c:pt>
                <c:pt idx="174">
                  <c:v>3984410.186307997</c:v>
                </c:pt>
                <c:pt idx="175">
                  <c:v>4016794.2330186735</c:v>
                </c:pt>
                <c:pt idx="176">
                  <c:v>4049441.4871885017</c:v>
                </c:pt>
                <c:pt idx="177">
                  <c:v>4081288.2275207238</c:v>
                </c:pt>
                <c:pt idx="178">
                  <c:v>4114459.6688180962</c:v>
                </c:pt>
                <c:pt idx="179">
                  <c:v>4146817.7431586711</c:v>
                </c:pt>
                <c:pt idx="180">
                  <c:v>4180521.7879772955</c:v>
                </c:pt>
                <c:pt idx="181">
                  <c:v>4214499.7687891312</c:v>
                </c:pt>
                <c:pt idx="182">
                  <c:v>4246535.5900017461</c:v>
                </c:pt>
                <c:pt idx="183">
                  <c:v>4281050.1104639564</c:v>
                </c:pt>
                <c:pt idx="184">
                  <c:v>4314718.3315380281</c:v>
                </c:pt>
                <c:pt idx="185">
                  <c:v>4349787.0201163525</c:v>
                </c:pt>
                <c:pt idx="186">
                  <c:v>4383995.8210506001</c:v>
                </c:pt>
                <c:pt idx="187">
                  <c:v>4419627.575516087</c:v>
                </c:pt>
                <c:pt idx="188">
                  <c:v>4455548.9337992137</c:v>
                </c:pt>
                <c:pt idx="189">
                  <c:v>4490589.4968944285</c:v>
                </c:pt>
                <c:pt idx="190">
                  <c:v>4527087.6116030086</c:v>
                </c:pt>
                <c:pt idx="191">
                  <c:v>4562690.7890002066</c:v>
                </c:pt>
                <c:pt idx="192">
                  <c:v>4599774.9205851294</c:v>
                </c:pt>
                <c:pt idx="193">
                  <c:v>4637160.4604571806</c:v>
                </c:pt>
                <c:pt idx="194">
                  <c:v>4671189.1490019206</c:v>
                </c:pt>
                <c:pt idx="195">
                  <c:v>4709155.1215103529</c:v>
                </c:pt>
                <c:pt idx="196">
                  <c:v>4746190.164691831</c:v>
                </c:pt>
                <c:pt idx="197">
                  <c:v>4784765.7221279871</c:v>
                </c:pt>
                <c:pt idx="198">
                  <c:v>4822395.4031556603</c:v>
                </c:pt>
                <c:pt idx="199">
                  <c:v>4861590.3330676956</c:v>
                </c:pt>
                <c:pt idx="200">
                  <c:v>4901103.8271791348</c:v>
                </c:pt>
                <c:pt idx="201">
                  <c:v>4939648.4465838708</c:v>
                </c:pt>
                <c:pt idx="202">
                  <c:v>4979796.3727633087</c:v>
                </c:pt>
                <c:pt idx="203">
                  <c:v>5018959.8679002272</c:v>
                </c:pt>
                <c:pt idx="204">
                  <c:v>5059752.4126436431</c:v>
                </c:pt>
                <c:pt idx="205">
                  <c:v>5100876.5065028993</c:v>
                </c:pt>
                <c:pt idx="206">
                  <c:v>5138308.0639021136</c:v>
                </c:pt>
                <c:pt idx="207">
                  <c:v>5180070.6336613875</c:v>
                </c:pt>
                <c:pt idx="208">
                  <c:v>5220809.1811610153</c:v>
                </c:pt>
                <c:pt idx="209">
                  <c:v>5263242.2943407856</c:v>
                </c:pt>
                <c:pt idx="210">
                  <c:v>5304634.9434712278</c:v>
                </c:pt>
                <c:pt idx="211">
                  <c:v>5347749.3663744666</c:v>
                </c:pt>
                <c:pt idx="212">
                  <c:v>5391214.2098970488</c:v>
                </c:pt>
                <c:pt idx="213">
                  <c:v>5433613.2912422586</c:v>
                </c:pt>
                <c:pt idx="214">
                  <c:v>5477776.0100396406</c:v>
                </c:pt>
                <c:pt idx="215">
                  <c:v>5520855.8546902509</c:v>
                </c:pt>
                <c:pt idx="216">
                  <c:v>5565727.6539080078</c:v>
                </c:pt>
                <c:pt idx="217">
                  <c:v>5610964.1571531901</c:v>
                </c:pt>
                <c:pt idx="218">
                  <c:v>5652138.8702923255</c:v>
                </c:pt>
                <c:pt idx="219">
                  <c:v>5698077.6970275268</c:v>
                </c:pt>
                <c:pt idx="220">
                  <c:v>5742890.0992771173</c:v>
                </c:pt>
                <c:pt idx="221">
                  <c:v>5789566.5237748642</c:v>
                </c:pt>
                <c:pt idx="222">
                  <c:v>5835098.4378183512</c:v>
                </c:pt>
                <c:pt idx="223">
                  <c:v>5882524.3030119138</c:v>
                </c:pt>
                <c:pt idx="224">
                  <c:v>5930335.630886755</c:v>
                </c:pt>
                <c:pt idx="225">
                  <c:v>5976974.6203664867</c:v>
                </c:pt>
                <c:pt idx="226">
                  <c:v>6025553.611043605</c:v>
                </c:pt>
                <c:pt idx="227">
                  <c:v>6072941.4401592761</c:v>
                </c:pt>
                <c:pt idx="228">
                  <c:v>6122300.41929881</c:v>
                </c:pt>
                <c:pt idx="229">
                  <c:v>6172060.5728685101</c:v>
                </c:pt>
                <c:pt idx="230">
                  <c:v>6218976.4679624243</c:v>
                </c:pt>
                <c:pt idx="231">
                  <c:v>6269522.3743862072</c:v>
                </c:pt>
                <c:pt idx="232">
                  <c:v>6318828.890283728</c:v>
                </c:pt>
                <c:pt idx="233">
                  <c:v>6370186.3661387255</c:v>
                </c:pt>
                <c:pt idx="234">
                  <c:v>6420284.5517063197</c:v>
                </c:pt>
                <c:pt idx="235">
                  <c:v>6472466.6276212865</c:v>
                </c:pt>
                <c:pt idx="236">
                  <c:v>6525072.8232189342</c:v>
                </c:pt>
                <c:pt idx="237">
                  <c:v>6576389.1098000202</c:v>
                </c:pt>
                <c:pt idx="238">
                  <c:v>6629839.9550094809</c:v>
                </c:pt>
                <c:pt idx="239">
                  <c:v>6681980.1803119993</c:v>
                </c:pt>
                <c:pt idx="240">
                  <c:v>6736289.2369002588</c:v>
                </c:pt>
                <c:pt idx="241">
                  <c:v>6791039.7006085506</c:v>
                </c:pt>
                <c:pt idx="242">
                  <c:v>6840874.1147586666</c:v>
                </c:pt>
                <c:pt idx="243">
                  <c:v>6896474.6118248282</c:v>
                </c:pt>
                <c:pt idx="244">
                  <c:v>6950711.7793121021</c:v>
                </c:pt>
                <c:pt idx="245">
                  <c:v>7007205.0027526002</c:v>
                </c:pt>
                <c:pt idx="246">
                  <c:v>7062313.006876952</c:v>
                </c:pt>
                <c:pt idx="247">
                  <c:v>7119713.2903834153</c:v>
                </c:pt>
                <c:pt idx="248">
                  <c:v>7177580.1055408288</c:v>
                </c:pt>
                <c:pt idx="249">
                  <c:v>7234028.0207800213</c:v>
                </c:pt>
                <c:pt idx="250">
                  <c:v>7292823.9505104283</c:v>
                </c:pt>
                <c:pt idx="251">
                  <c:v>7350178.1983432006</c:v>
                </c:pt>
                <c:pt idx="252">
                  <c:v>7409918.1605902854</c:v>
                </c:pt>
                <c:pt idx="253">
                  <c:v>7470143.6706694048</c:v>
                </c:pt>
                <c:pt idx="254">
                  <c:v>7524961.5262345336</c:v>
                </c:pt>
                <c:pt idx="255">
                  <c:v>7586122.0730073117</c:v>
                </c:pt>
                <c:pt idx="256">
                  <c:v>7645782.9572433122</c:v>
                </c:pt>
                <c:pt idx="257">
                  <c:v>7707925.503027861</c:v>
                </c:pt>
                <c:pt idx="258">
                  <c:v>7768544.3075646469</c:v>
                </c:pt>
                <c:pt idx="259">
                  <c:v>7831684.6194217587</c:v>
                </c:pt>
                <c:pt idx="260">
                  <c:v>7895338.1160949115</c:v>
                </c:pt>
                <c:pt idx="261">
                  <c:v>7957430.8228580263</c:v>
                </c:pt>
                <c:pt idx="262">
                  <c:v>8022106.3455614718</c:v>
                </c:pt>
                <c:pt idx="263">
                  <c:v>8085196.0181775214</c:v>
                </c:pt>
                <c:pt idx="264">
                  <c:v>8150909.9766493132</c:v>
                </c:pt>
                <c:pt idx="265">
                  <c:v>8217158.0377363488</c:v>
                </c:pt>
                <c:pt idx="266">
                  <c:v>8277457.6788579887</c:v>
                </c:pt>
                <c:pt idx="267">
                  <c:v>8344734.2803080427</c:v>
                </c:pt>
                <c:pt idx="268">
                  <c:v>8410361.2529676463</c:v>
                </c:pt>
                <c:pt idx="269">
                  <c:v>8478718.053330645</c:v>
                </c:pt>
                <c:pt idx="270">
                  <c:v>8545398.7383211143</c:v>
                </c:pt>
                <c:pt idx="271">
                  <c:v>8614853.0813639332</c:v>
                </c:pt>
                <c:pt idx="272">
                  <c:v>8684871.927704405</c:v>
                </c:pt>
                <c:pt idx="273">
                  <c:v>8753173.9051438291</c:v>
                </c:pt>
                <c:pt idx="274">
                  <c:v>8824316.980117619</c:v>
                </c:pt>
                <c:pt idx="275">
                  <c:v>8893715.6199952736</c:v>
                </c:pt>
                <c:pt idx="276">
                  <c:v>8966000.9743142482</c:v>
                </c:pt>
                <c:pt idx="277">
                  <c:v>9038873.8415099829</c:v>
                </c:pt>
                <c:pt idx="278">
                  <c:v>9107581.3423371017</c:v>
                </c:pt>
                <c:pt idx="279">
                  <c:v>9181604.9307279419</c:v>
                </c:pt>
                <c:pt idx="280">
                  <c:v>9253813.4535543751</c:v>
                </c:pt>
                <c:pt idx="281">
                  <c:v>9329025.5710621551</c:v>
                </c:pt>
                <c:pt idx="282">
                  <c:v>9402393.4801563416</c:v>
                </c:pt>
                <c:pt idx="283">
                  <c:v>9478813.2099070288</c:v>
                </c:pt>
                <c:pt idx="284">
                  <c:v>9555854.0554520581</c:v>
                </c:pt>
                <c:pt idx="285">
                  <c:v>9631005.8519947231</c:v>
                </c:pt>
                <c:pt idx="286">
                  <c:v>9709283.671997685</c:v>
                </c:pt>
                <c:pt idx="287">
                  <c:v>9785642.1122646369</c:v>
                </c:pt>
                <c:pt idx="288">
                  <c:v>9865176.7676940709</c:v>
                </c:pt>
                <c:pt idx="289">
                  <c:v>9945357.856064925</c:v>
                </c:pt>
                <c:pt idx="290">
                  <c:v>10018339.476570817</c:v>
                </c:pt>
                <c:pt idx="291">
                  <c:v>10099765.423800737</c:v>
                </c:pt>
                <c:pt idx="292">
                  <c:v>10179194.798909815</c:v>
                </c:pt>
                <c:pt idx="293">
                  <c:v>10261928.128168371</c:v>
                </c:pt>
                <c:pt idx="294">
                  <c:v>10342632.82817198</c:v>
                </c:pt>
                <c:pt idx="295">
                  <c:v>10426694.530897733</c:v>
                </c:pt>
                <c:pt idx="296">
                  <c:v>10511439.460997269</c:v>
                </c:pt>
                <c:pt idx="297">
                  <c:v>10594106.437194195</c:v>
                </c:pt>
                <c:pt idx="298">
                  <c:v>10680212.039197454</c:v>
                </c:pt>
                <c:pt idx="299">
                  <c:v>10764206.3234911</c:v>
                </c:pt>
                <c:pt idx="300">
                  <c:v>10851694.444463482</c:v>
                </c:pt>
                <c:pt idx="301">
                  <c:v>10939893.641671415</c:v>
                </c:pt>
                <c:pt idx="302">
                  <c:v>11020173.424227897</c:v>
                </c:pt>
                <c:pt idx="303">
                  <c:v>11109741.966180814</c:v>
                </c:pt>
                <c:pt idx="304">
                  <c:v>11197114.278800797</c:v>
                </c:pt>
                <c:pt idx="305">
                  <c:v>11288120.940985207</c:v>
                </c:pt>
                <c:pt idx="306">
                  <c:v>11376896.110989176</c:v>
                </c:pt>
                <c:pt idx="307">
                  <c:v>11469363.98398751</c:v>
                </c:pt>
                <c:pt idx="308">
                  <c:v>11562583.407096995</c:v>
                </c:pt>
                <c:pt idx="309">
                  <c:v>11653517.080913614</c:v>
                </c:pt>
                <c:pt idx="310">
                  <c:v>11748233.243117204</c:v>
                </c:pt>
                <c:pt idx="311">
                  <c:v>11840626.955840211</c:v>
                </c:pt>
                <c:pt idx="312">
                  <c:v>11936863.88890983</c:v>
                </c:pt>
                <c:pt idx="313">
                  <c:v>12033883.005838558</c:v>
                </c:pt>
                <c:pt idx="314">
                  <c:v>12122190.766650686</c:v>
                </c:pt>
                <c:pt idx="315">
                  <c:v>12220716.162798896</c:v>
                </c:pt>
                <c:pt idx="316">
                  <c:v>12316825.706680875</c:v>
                </c:pt>
                <c:pt idx="317">
                  <c:v>12416933.035083732</c:v>
                </c:pt>
                <c:pt idx="318">
                  <c:v>12514585.722088093</c:v>
                </c:pt>
                <c:pt idx="319">
                  <c:v>12616300.382386258</c:v>
                </c:pt>
                <c:pt idx="320">
                  <c:v>12718841.747806692</c:v>
                </c:pt>
                <c:pt idx="321">
                  <c:v>12818868.789004982</c:v>
                </c:pt>
                <c:pt idx="322">
                  <c:v>12923056.567428922</c:v>
                </c:pt>
                <c:pt idx="323">
                  <c:v>13024689.651424237</c:v>
                </c:pt>
                <c:pt idx="324">
                  <c:v>13130550.277800811</c:v>
                </c:pt>
                <c:pt idx="325">
                  <c:v>13237271.306422418</c:v>
                </c:pt>
                <c:pt idx="326">
                  <c:v>13337892.229469061</c:v>
                </c:pt>
                <c:pt idx="327">
                  <c:v>13446298.468983602</c:v>
                </c:pt>
                <c:pt idx="328">
                  <c:v>13552046.576994564</c:v>
                </c:pt>
                <c:pt idx="329">
                  <c:v>13662193.396436691</c:v>
                </c:pt>
                <c:pt idx="330">
                  <c:v>13769639.405186664</c:v>
                </c:pt>
                <c:pt idx="331">
                  <c:v>13881554.751457755</c:v>
                </c:pt>
                <c:pt idx="332">
                  <c:v>13994379.710853953</c:v>
                </c:pt>
                <c:pt idx="333">
                  <c:v>14104438.191306656</c:v>
                </c:pt>
                <c:pt idx="334">
                  <c:v>14219074.677977817</c:v>
                </c:pt>
                <c:pt idx="335">
                  <c:v>14330900.266881051</c:v>
                </c:pt>
                <c:pt idx="336">
                  <c:v>14447377.366865268</c:v>
                </c:pt>
                <c:pt idx="337">
                  <c:v>14564801.156489907</c:v>
                </c:pt>
                <c:pt idx="338">
                  <c:v>14671681.452415965</c:v>
                </c:pt>
                <c:pt idx="339">
                  <c:v>14790928.315881968</c:v>
                </c:pt>
                <c:pt idx="340">
                  <c:v>14907251.234694019</c:v>
                </c:pt>
                <c:pt idx="341">
                  <c:v>15028412.736080365</c:v>
                </c:pt>
                <c:pt idx="342">
                  <c:v>15146603.345705329</c:v>
                </c:pt>
                <c:pt idx="343">
                  <c:v>15269710.226603536</c:v>
                </c:pt>
                <c:pt idx="344">
                  <c:v>15393817.681939349</c:v>
                </c:pt>
                <c:pt idx="345">
                  <c:v>15514882.010437328</c:v>
                </c:pt>
                <c:pt idx="346">
                  <c:v>15640982.145775598</c:v>
                </c:pt>
                <c:pt idx="347">
                  <c:v>15763990.293569155</c:v>
                </c:pt>
                <c:pt idx="348">
                  <c:v>15892115.103551794</c:v>
                </c:pt>
                <c:pt idx="349">
                  <c:v>16021281.272138903</c:v>
                </c:pt>
                <c:pt idx="350">
                  <c:v>16138849.597657569</c:v>
                </c:pt>
                <c:pt idx="351">
                  <c:v>16270021.147470159</c:v>
                </c:pt>
                <c:pt idx="352">
                  <c:v>16397976.358163426</c:v>
                </c:pt>
                <c:pt idx="353">
                  <c:v>16531254.0096884</c:v>
                </c:pt>
                <c:pt idx="354">
                  <c:v>16661263.680275859</c:v>
                </c:pt>
                <c:pt idx="355">
                  <c:v>16796681.249263886</c:v>
                </c:pt>
                <c:pt idx="356">
                  <c:v>16933199.45013329</c:v>
                </c:pt>
                <c:pt idx="357">
                  <c:v>17066370.211481057</c:v>
                </c:pt>
                <c:pt idx="358">
                  <c:v>17205080.360353161</c:v>
                </c:pt>
                <c:pt idx="359">
                  <c:v>17340389.322926074</c:v>
                </c:pt>
                <c:pt idx="360">
                  <c:v>17481326.613906972</c:v>
                </c:pt>
                <c:pt idx="361">
                  <c:v>17623409.399352793</c:v>
                </c:pt>
                <c:pt idx="362">
                  <c:v>17752734.557423323</c:v>
                </c:pt>
                <c:pt idx="363">
                  <c:v>17897023.262217186</c:v>
                </c:pt>
                <c:pt idx="364">
                  <c:v>18037773.993979771</c:v>
                </c:pt>
                <c:pt idx="365">
                  <c:v>18184379.410657246</c:v>
                </c:pt>
                <c:pt idx="366">
                  <c:v>18327390.048303451</c:v>
                </c:pt>
                <c:pt idx="367">
                  <c:v>18476349.374190275</c:v>
                </c:pt>
                <c:pt idx="368">
                  <c:v>18626519.395146616</c:v>
                </c:pt>
                <c:pt idx="369">
                  <c:v>18773007.232629161</c:v>
                </c:pt>
                <c:pt idx="370">
                  <c:v>18925588.396388479</c:v>
                </c:pt>
                <c:pt idx="371">
                  <c:v>19074428.255218681</c:v>
                </c:pt>
                <c:pt idx="372">
                  <c:v>19229459.275297675</c:v>
                </c:pt>
                <c:pt idx="373">
                  <c:v>19385750.339288078</c:v>
                </c:pt>
                <c:pt idx="374">
                  <c:v>19533107.906262212</c:v>
                </c:pt>
                <c:pt idx="375">
                  <c:v>19691866.931880306</c:v>
                </c:pt>
                <c:pt idx="376">
                  <c:v>19846733.170797534</c:v>
                </c:pt>
                <c:pt idx="377">
                  <c:v>20008041.245017916</c:v>
                </c:pt>
                <c:pt idx="378">
                  <c:v>20165394.029618561</c:v>
                </c:pt>
                <c:pt idx="379">
                  <c:v>20329292.080185361</c:v>
                </c:pt>
              </c:numCache>
            </c:numRef>
          </c:val>
          <c:smooth val="0"/>
          <c:extLst>
            <c:ext xmlns:c16="http://schemas.microsoft.com/office/drawing/2014/chart" uri="{C3380CC4-5D6E-409C-BE32-E72D297353CC}">
              <c16:uniqueId val="{00000001-83AC-4FD4-A810-4BB0F3E2D6FF}"/>
            </c:ext>
          </c:extLst>
        </c:ser>
        <c:ser>
          <c:idx val="2"/>
          <c:order val="2"/>
          <c:tx>
            <c:strRef>
              <c:f>'Interest accrual'!$E$7</c:f>
              <c:strCache>
                <c:ptCount val="1"/>
                <c:pt idx="0">
                  <c:v> Continuously compounded </c:v>
                </c:pt>
              </c:strCache>
            </c:strRef>
          </c:tx>
          <c:spPr>
            <a:ln w="28575" cap="rnd">
              <a:solidFill>
                <a:schemeClr val="accent3"/>
              </a:solidFill>
              <a:round/>
            </a:ln>
            <a:effectLst/>
          </c:spPr>
          <c:marker>
            <c:symbol val="none"/>
          </c:marker>
          <c:cat>
            <c:numRef>
              <c:f>'Interest accrual'!$B$8:$B$387</c:f>
              <c:numCache>
                <c:formatCode>d/m/yy;@</c:formatCode>
                <c:ptCount val="380"/>
                <c:pt idx="0">
                  <c:v>44197</c:v>
                </c:pt>
                <c:pt idx="1">
                  <c:v>44228</c:v>
                </c:pt>
                <c:pt idx="2">
                  <c:v>44256</c:v>
                </c:pt>
                <c:pt idx="3">
                  <c:v>44287</c:v>
                </c:pt>
                <c:pt idx="4">
                  <c:v>44317</c:v>
                </c:pt>
                <c:pt idx="5">
                  <c:v>44348</c:v>
                </c:pt>
                <c:pt idx="6">
                  <c:v>44378</c:v>
                </c:pt>
                <c:pt idx="7">
                  <c:v>44409</c:v>
                </c:pt>
                <c:pt idx="8">
                  <c:v>44440</c:v>
                </c:pt>
                <c:pt idx="9">
                  <c:v>44470</c:v>
                </c:pt>
                <c:pt idx="10">
                  <c:v>44501</c:v>
                </c:pt>
                <c:pt idx="11">
                  <c:v>44531</c:v>
                </c:pt>
                <c:pt idx="12">
                  <c:v>44562</c:v>
                </c:pt>
                <c:pt idx="13">
                  <c:v>44593</c:v>
                </c:pt>
                <c:pt idx="14">
                  <c:v>44621</c:v>
                </c:pt>
                <c:pt idx="15">
                  <c:v>44652</c:v>
                </c:pt>
                <c:pt idx="16">
                  <c:v>44682</c:v>
                </c:pt>
                <c:pt idx="17">
                  <c:v>44713</c:v>
                </c:pt>
                <c:pt idx="18">
                  <c:v>44743</c:v>
                </c:pt>
                <c:pt idx="19">
                  <c:v>44774</c:v>
                </c:pt>
                <c:pt idx="20">
                  <c:v>44805</c:v>
                </c:pt>
                <c:pt idx="21">
                  <c:v>44835</c:v>
                </c:pt>
                <c:pt idx="22">
                  <c:v>44866</c:v>
                </c:pt>
                <c:pt idx="23">
                  <c:v>44896</c:v>
                </c:pt>
                <c:pt idx="24">
                  <c:v>44927</c:v>
                </c:pt>
                <c:pt idx="25">
                  <c:v>44958</c:v>
                </c:pt>
                <c:pt idx="26">
                  <c:v>44986</c:v>
                </c:pt>
                <c:pt idx="27">
                  <c:v>45017</c:v>
                </c:pt>
                <c:pt idx="28">
                  <c:v>45047</c:v>
                </c:pt>
                <c:pt idx="29">
                  <c:v>45078</c:v>
                </c:pt>
                <c:pt idx="30">
                  <c:v>45108</c:v>
                </c:pt>
                <c:pt idx="31">
                  <c:v>45139</c:v>
                </c:pt>
                <c:pt idx="32">
                  <c:v>45170</c:v>
                </c:pt>
                <c:pt idx="33">
                  <c:v>45200</c:v>
                </c:pt>
                <c:pt idx="34">
                  <c:v>45231</c:v>
                </c:pt>
                <c:pt idx="35">
                  <c:v>45261</c:v>
                </c:pt>
                <c:pt idx="36">
                  <c:v>45292</c:v>
                </c:pt>
                <c:pt idx="37">
                  <c:v>45323</c:v>
                </c:pt>
                <c:pt idx="38">
                  <c:v>45352</c:v>
                </c:pt>
                <c:pt idx="39">
                  <c:v>45383</c:v>
                </c:pt>
                <c:pt idx="40">
                  <c:v>45413</c:v>
                </c:pt>
                <c:pt idx="41">
                  <c:v>45444</c:v>
                </c:pt>
                <c:pt idx="42">
                  <c:v>45474</c:v>
                </c:pt>
                <c:pt idx="43">
                  <c:v>45505</c:v>
                </c:pt>
                <c:pt idx="44">
                  <c:v>45536</c:v>
                </c:pt>
                <c:pt idx="45">
                  <c:v>45566</c:v>
                </c:pt>
                <c:pt idx="46">
                  <c:v>45597</c:v>
                </c:pt>
                <c:pt idx="47">
                  <c:v>45627</c:v>
                </c:pt>
                <c:pt idx="48">
                  <c:v>45658</c:v>
                </c:pt>
                <c:pt idx="49">
                  <c:v>45689</c:v>
                </c:pt>
                <c:pt idx="50">
                  <c:v>45717</c:v>
                </c:pt>
                <c:pt idx="51">
                  <c:v>45748</c:v>
                </c:pt>
                <c:pt idx="52">
                  <c:v>45778</c:v>
                </c:pt>
                <c:pt idx="53">
                  <c:v>45809</c:v>
                </c:pt>
                <c:pt idx="54">
                  <c:v>45839</c:v>
                </c:pt>
                <c:pt idx="55">
                  <c:v>45870</c:v>
                </c:pt>
                <c:pt idx="56">
                  <c:v>45901</c:v>
                </c:pt>
                <c:pt idx="57">
                  <c:v>45931</c:v>
                </c:pt>
                <c:pt idx="58">
                  <c:v>45962</c:v>
                </c:pt>
                <c:pt idx="59">
                  <c:v>45992</c:v>
                </c:pt>
                <c:pt idx="60">
                  <c:v>46023</c:v>
                </c:pt>
                <c:pt idx="61">
                  <c:v>46054</c:v>
                </c:pt>
                <c:pt idx="62">
                  <c:v>46082</c:v>
                </c:pt>
                <c:pt idx="63">
                  <c:v>46113</c:v>
                </c:pt>
                <c:pt idx="64">
                  <c:v>46143</c:v>
                </c:pt>
                <c:pt idx="65">
                  <c:v>46174</c:v>
                </c:pt>
                <c:pt idx="66">
                  <c:v>46204</c:v>
                </c:pt>
                <c:pt idx="67">
                  <c:v>46235</c:v>
                </c:pt>
                <c:pt idx="68">
                  <c:v>46266</c:v>
                </c:pt>
                <c:pt idx="69">
                  <c:v>46296</c:v>
                </c:pt>
                <c:pt idx="70">
                  <c:v>46327</c:v>
                </c:pt>
                <c:pt idx="71">
                  <c:v>46357</c:v>
                </c:pt>
                <c:pt idx="72">
                  <c:v>46388</c:v>
                </c:pt>
                <c:pt idx="73">
                  <c:v>46419</c:v>
                </c:pt>
                <c:pt idx="74">
                  <c:v>46447</c:v>
                </c:pt>
                <c:pt idx="75">
                  <c:v>46478</c:v>
                </c:pt>
                <c:pt idx="76">
                  <c:v>46508</c:v>
                </c:pt>
                <c:pt idx="77">
                  <c:v>46539</c:v>
                </c:pt>
                <c:pt idx="78">
                  <c:v>46569</c:v>
                </c:pt>
                <c:pt idx="79">
                  <c:v>46600</c:v>
                </c:pt>
                <c:pt idx="80">
                  <c:v>46631</c:v>
                </c:pt>
                <c:pt idx="81">
                  <c:v>46661</c:v>
                </c:pt>
                <c:pt idx="82">
                  <c:v>46692</c:v>
                </c:pt>
                <c:pt idx="83">
                  <c:v>46722</c:v>
                </c:pt>
                <c:pt idx="84">
                  <c:v>46753</c:v>
                </c:pt>
                <c:pt idx="85">
                  <c:v>46784</c:v>
                </c:pt>
                <c:pt idx="86">
                  <c:v>46813</c:v>
                </c:pt>
                <c:pt idx="87">
                  <c:v>46844</c:v>
                </c:pt>
                <c:pt idx="88">
                  <c:v>46874</c:v>
                </c:pt>
                <c:pt idx="89">
                  <c:v>46905</c:v>
                </c:pt>
                <c:pt idx="90">
                  <c:v>46935</c:v>
                </c:pt>
                <c:pt idx="91">
                  <c:v>46966</c:v>
                </c:pt>
                <c:pt idx="92">
                  <c:v>46997</c:v>
                </c:pt>
                <c:pt idx="93">
                  <c:v>47027</c:v>
                </c:pt>
                <c:pt idx="94">
                  <c:v>47058</c:v>
                </c:pt>
                <c:pt idx="95">
                  <c:v>47088</c:v>
                </c:pt>
                <c:pt idx="96">
                  <c:v>47119</c:v>
                </c:pt>
                <c:pt idx="97">
                  <c:v>47150</c:v>
                </c:pt>
                <c:pt idx="98">
                  <c:v>47178</c:v>
                </c:pt>
                <c:pt idx="99">
                  <c:v>47209</c:v>
                </c:pt>
                <c:pt idx="100">
                  <c:v>47239</c:v>
                </c:pt>
                <c:pt idx="101">
                  <c:v>47270</c:v>
                </c:pt>
                <c:pt idx="102">
                  <c:v>47300</c:v>
                </c:pt>
                <c:pt idx="103">
                  <c:v>47331</c:v>
                </c:pt>
                <c:pt idx="104">
                  <c:v>47362</c:v>
                </c:pt>
                <c:pt idx="105">
                  <c:v>47392</c:v>
                </c:pt>
                <c:pt idx="106">
                  <c:v>47423</c:v>
                </c:pt>
                <c:pt idx="107">
                  <c:v>47453</c:v>
                </c:pt>
                <c:pt idx="108">
                  <c:v>47484</c:v>
                </c:pt>
                <c:pt idx="109">
                  <c:v>47515</c:v>
                </c:pt>
                <c:pt idx="110">
                  <c:v>47543</c:v>
                </c:pt>
                <c:pt idx="111">
                  <c:v>47574</c:v>
                </c:pt>
                <c:pt idx="112">
                  <c:v>47604</c:v>
                </c:pt>
                <c:pt idx="113">
                  <c:v>47635</c:v>
                </c:pt>
                <c:pt idx="114">
                  <c:v>47665</c:v>
                </c:pt>
                <c:pt idx="115">
                  <c:v>47696</c:v>
                </c:pt>
                <c:pt idx="116">
                  <c:v>47727</c:v>
                </c:pt>
                <c:pt idx="117">
                  <c:v>47757</c:v>
                </c:pt>
                <c:pt idx="118">
                  <c:v>47788</c:v>
                </c:pt>
                <c:pt idx="119">
                  <c:v>47818</c:v>
                </c:pt>
                <c:pt idx="120">
                  <c:v>47849</c:v>
                </c:pt>
                <c:pt idx="121">
                  <c:v>47880</c:v>
                </c:pt>
                <c:pt idx="122">
                  <c:v>47908</c:v>
                </c:pt>
                <c:pt idx="123">
                  <c:v>47939</c:v>
                </c:pt>
                <c:pt idx="124">
                  <c:v>47969</c:v>
                </c:pt>
                <c:pt idx="125">
                  <c:v>48000</c:v>
                </c:pt>
                <c:pt idx="126">
                  <c:v>48030</c:v>
                </c:pt>
                <c:pt idx="127">
                  <c:v>48061</c:v>
                </c:pt>
                <c:pt idx="128">
                  <c:v>48092</c:v>
                </c:pt>
                <c:pt idx="129">
                  <c:v>48122</c:v>
                </c:pt>
                <c:pt idx="130">
                  <c:v>48153</c:v>
                </c:pt>
                <c:pt idx="131">
                  <c:v>48183</c:v>
                </c:pt>
                <c:pt idx="132">
                  <c:v>48214</c:v>
                </c:pt>
                <c:pt idx="133">
                  <c:v>48245</c:v>
                </c:pt>
                <c:pt idx="134">
                  <c:v>48274</c:v>
                </c:pt>
                <c:pt idx="135">
                  <c:v>48305</c:v>
                </c:pt>
                <c:pt idx="136">
                  <c:v>48335</c:v>
                </c:pt>
                <c:pt idx="137">
                  <c:v>48366</c:v>
                </c:pt>
                <c:pt idx="138">
                  <c:v>48396</c:v>
                </c:pt>
                <c:pt idx="139">
                  <c:v>48427</c:v>
                </c:pt>
                <c:pt idx="140">
                  <c:v>48458</c:v>
                </c:pt>
                <c:pt idx="141">
                  <c:v>48488</c:v>
                </c:pt>
                <c:pt idx="142">
                  <c:v>48519</c:v>
                </c:pt>
                <c:pt idx="143">
                  <c:v>48549</c:v>
                </c:pt>
                <c:pt idx="144">
                  <c:v>48580</c:v>
                </c:pt>
                <c:pt idx="145">
                  <c:v>48611</c:v>
                </c:pt>
                <c:pt idx="146">
                  <c:v>48639</c:v>
                </c:pt>
                <c:pt idx="147">
                  <c:v>48670</c:v>
                </c:pt>
                <c:pt idx="148">
                  <c:v>48700</c:v>
                </c:pt>
                <c:pt idx="149">
                  <c:v>48731</c:v>
                </c:pt>
                <c:pt idx="150">
                  <c:v>48761</c:v>
                </c:pt>
                <c:pt idx="151">
                  <c:v>48792</c:v>
                </c:pt>
                <c:pt idx="152">
                  <c:v>48823</c:v>
                </c:pt>
                <c:pt idx="153">
                  <c:v>48853</c:v>
                </c:pt>
                <c:pt idx="154">
                  <c:v>48884</c:v>
                </c:pt>
                <c:pt idx="155">
                  <c:v>48914</c:v>
                </c:pt>
                <c:pt idx="156">
                  <c:v>48945</c:v>
                </c:pt>
                <c:pt idx="157">
                  <c:v>48976</c:v>
                </c:pt>
                <c:pt idx="158">
                  <c:v>49004</c:v>
                </c:pt>
                <c:pt idx="159">
                  <c:v>49035</c:v>
                </c:pt>
                <c:pt idx="160">
                  <c:v>49065</c:v>
                </c:pt>
                <c:pt idx="161">
                  <c:v>49096</c:v>
                </c:pt>
                <c:pt idx="162">
                  <c:v>49126</c:v>
                </c:pt>
                <c:pt idx="163">
                  <c:v>49157</c:v>
                </c:pt>
                <c:pt idx="164">
                  <c:v>49188</c:v>
                </c:pt>
                <c:pt idx="165">
                  <c:v>49218</c:v>
                </c:pt>
                <c:pt idx="166">
                  <c:v>49249</c:v>
                </c:pt>
                <c:pt idx="167">
                  <c:v>49279</c:v>
                </c:pt>
                <c:pt idx="168">
                  <c:v>49310</c:v>
                </c:pt>
                <c:pt idx="169">
                  <c:v>49341</c:v>
                </c:pt>
                <c:pt idx="170">
                  <c:v>49369</c:v>
                </c:pt>
                <c:pt idx="171">
                  <c:v>49400</c:v>
                </c:pt>
                <c:pt idx="172">
                  <c:v>49430</c:v>
                </c:pt>
                <c:pt idx="173">
                  <c:v>49461</c:v>
                </c:pt>
                <c:pt idx="174">
                  <c:v>49491</c:v>
                </c:pt>
                <c:pt idx="175">
                  <c:v>49522</c:v>
                </c:pt>
                <c:pt idx="176">
                  <c:v>49553</c:v>
                </c:pt>
                <c:pt idx="177">
                  <c:v>49583</c:v>
                </c:pt>
                <c:pt idx="178">
                  <c:v>49614</c:v>
                </c:pt>
                <c:pt idx="179">
                  <c:v>49644</c:v>
                </c:pt>
                <c:pt idx="180">
                  <c:v>49675</c:v>
                </c:pt>
                <c:pt idx="181">
                  <c:v>49706</c:v>
                </c:pt>
                <c:pt idx="182">
                  <c:v>49735</c:v>
                </c:pt>
                <c:pt idx="183">
                  <c:v>49766</c:v>
                </c:pt>
                <c:pt idx="184">
                  <c:v>49796</c:v>
                </c:pt>
                <c:pt idx="185">
                  <c:v>49827</c:v>
                </c:pt>
                <c:pt idx="186">
                  <c:v>49857</c:v>
                </c:pt>
                <c:pt idx="187">
                  <c:v>49888</c:v>
                </c:pt>
                <c:pt idx="188">
                  <c:v>49919</c:v>
                </c:pt>
                <c:pt idx="189">
                  <c:v>49949</c:v>
                </c:pt>
                <c:pt idx="190">
                  <c:v>49980</c:v>
                </c:pt>
                <c:pt idx="191">
                  <c:v>50010</c:v>
                </c:pt>
                <c:pt idx="192">
                  <c:v>50041</c:v>
                </c:pt>
                <c:pt idx="193">
                  <c:v>50072</c:v>
                </c:pt>
                <c:pt idx="194">
                  <c:v>50100</c:v>
                </c:pt>
                <c:pt idx="195">
                  <c:v>50131</c:v>
                </c:pt>
                <c:pt idx="196">
                  <c:v>50161</c:v>
                </c:pt>
                <c:pt idx="197">
                  <c:v>50192</c:v>
                </c:pt>
                <c:pt idx="198">
                  <c:v>50222</c:v>
                </c:pt>
                <c:pt idx="199">
                  <c:v>50253</c:v>
                </c:pt>
                <c:pt idx="200">
                  <c:v>50284</c:v>
                </c:pt>
                <c:pt idx="201">
                  <c:v>50314</c:v>
                </c:pt>
                <c:pt idx="202">
                  <c:v>50345</c:v>
                </c:pt>
                <c:pt idx="203">
                  <c:v>50375</c:v>
                </c:pt>
                <c:pt idx="204">
                  <c:v>50406</c:v>
                </c:pt>
                <c:pt idx="205">
                  <c:v>50437</c:v>
                </c:pt>
                <c:pt idx="206">
                  <c:v>50465</c:v>
                </c:pt>
                <c:pt idx="207">
                  <c:v>50496</c:v>
                </c:pt>
                <c:pt idx="208">
                  <c:v>50526</c:v>
                </c:pt>
                <c:pt idx="209">
                  <c:v>50557</c:v>
                </c:pt>
                <c:pt idx="210">
                  <c:v>50587</c:v>
                </c:pt>
                <c:pt idx="211">
                  <c:v>50618</c:v>
                </c:pt>
                <c:pt idx="212">
                  <c:v>50649</c:v>
                </c:pt>
                <c:pt idx="213">
                  <c:v>50679</c:v>
                </c:pt>
                <c:pt idx="214">
                  <c:v>50710</c:v>
                </c:pt>
                <c:pt idx="215">
                  <c:v>50740</c:v>
                </c:pt>
                <c:pt idx="216">
                  <c:v>50771</c:v>
                </c:pt>
                <c:pt idx="217">
                  <c:v>50802</c:v>
                </c:pt>
                <c:pt idx="218">
                  <c:v>50830</c:v>
                </c:pt>
                <c:pt idx="219">
                  <c:v>50861</c:v>
                </c:pt>
                <c:pt idx="220">
                  <c:v>50891</c:v>
                </c:pt>
                <c:pt idx="221">
                  <c:v>50922</c:v>
                </c:pt>
                <c:pt idx="222">
                  <c:v>50952</c:v>
                </c:pt>
                <c:pt idx="223">
                  <c:v>50983</c:v>
                </c:pt>
                <c:pt idx="224">
                  <c:v>51014</c:v>
                </c:pt>
                <c:pt idx="225">
                  <c:v>51044</c:v>
                </c:pt>
                <c:pt idx="226">
                  <c:v>51075</c:v>
                </c:pt>
                <c:pt idx="227">
                  <c:v>51105</c:v>
                </c:pt>
                <c:pt idx="228">
                  <c:v>51136</c:v>
                </c:pt>
                <c:pt idx="229">
                  <c:v>51167</c:v>
                </c:pt>
                <c:pt idx="230">
                  <c:v>51196</c:v>
                </c:pt>
                <c:pt idx="231">
                  <c:v>51227</c:v>
                </c:pt>
                <c:pt idx="232">
                  <c:v>51257</c:v>
                </c:pt>
                <c:pt idx="233">
                  <c:v>51288</c:v>
                </c:pt>
                <c:pt idx="234">
                  <c:v>51318</c:v>
                </c:pt>
                <c:pt idx="235">
                  <c:v>51349</c:v>
                </c:pt>
                <c:pt idx="236">
                  <c:v>51380</c:v>
                </c:pt>
                <c:pt idx="237">
                  <c:v>51410</c:v>
                </c:pt>
                <c:pt idx="238">
                  <c:v>51441</c:v>
                </c:pt>
                <c:pt idx="239">
                  <c:v>51471</c:v>
                </c:pt>
                <c:pt idx="240">
                  <c:v>51502</c:v>
                </c:pt>
                <c:pt idx="241">
                  <c:v>51533</c:v>
                </c:pt>
                <c:pt idx="242">
                  <c:v>51561</c:v>
                </c:pt>
                <c:pt idx="243">
                  <c:v>51592</c:v>
                </c:pt>
                <c:pt idx="244">
                  <c:v>51622</c:v>
                </c:pt>
                <c:pt idx="245">
                  <c:v>51653</c:v>
                </c:pt>
                <c:pt idx="246">
                  <c:v>51683</c:v>
                </c:pt>
                <c:pt idx="247">
                  <c:v>51714</c:v>
                </c:pt>
                <c:pt idx="248">
                  <c:v>51745</c:v>
                </c:pt>
                <c:pt idx="249">
                  <c:v>51775</c:v>
                </c:pt>
                <c:pt idx="250">
                  <c:v>51806</c:v>
                </c:pt>
                <c:pt idx="251">
                  <c:v>51836</c:v>
                </c:pt>
                <c:pt idx="252">
                  <c:v>51867</c:v>
                </c:pt>
                <c:pt idx="253">
                  <c:v>51898</c:v>
                </c:pt>
                <c:pt idx="254">
                  <c:v>51926</c:v>
                </c:pt>
                <c:pt idx="255">
                  <c:v>51957</c:v>
                </c:pt>
                <c:pt idx="256">
                  <c:v>51987</c:v>
                </c:pt>
                <c:pt idx="257">
                  <c:v>52018</c:v>
                </c:pt>
                <c:pt idx="258">
                  <c:v>52048</c:v>
                </c:pt>
                <c:pt idx="259">
                  <c:v>52079</c:v>
                </c:pt>
                <c:pt idx="260">
                  <c:v>52110</c:v>
                </c:pt>
                <c:pt idx="261">
                  <c:v>52140</c:v>
                </c:pt>
                <c:pt idx="262">
                  <c:v>52171</c:v>
                </c:pt>
                <c:pt idx="263">
                  <c:v>52201</c:v>
                </c:pt>
                <c:pt idx="264">
                  <c:v>52232</c:v>
                </c:pt>
                <c:pt idx="265">
                  <c:v>52263</c:v>
                </c:pt>
                <c:pt idx="266">
                  <c:v>52291</c:v>
                </c:pt>
                <c:pt idx="267">
                  <c:v>52322</c:v>
                </c:pt>
                <c:pt idx="268">
                  <c:v>52352</c:v>
                </c:pt>
                <c:pt idx="269">
                  <c:v>52383</c:v>
                </c:pt>
                <c:pt idx="270">
                  <c:v>52413</c:v>
                </c:pt>
                <c:pt idx="271">
                  <c:v>52444</c:v>
                </c:pt>
                <c:pt idx="272">
                  <c:v>52475</c:v>
                </c:pt>
                <c:pt idx="273">
                  <c:v>52505</c:v>
                </c:pt>
                <c:pt idx="274">
                  <c:v>52536</c:v>
                </c:pt>
                <c:pt idx="275">
                  <c:v>52566</c:v>
                </c:pt>
                <c:pt idx="276">
                  <c:v>52597</c:v>
                </c:pt>
                <c:pt idx="277">
                  <c:v>52628</c:v>
                </c:pt>
                <c:pt idx="278">
                  <c:v>52657</c:v>
                </c:pt>
                <c:pt idx="279">
                  <c:v>52688</c:v>
                </c:pt>
                <c:pt idx="280">
                  <c:v>52718</c:v>
                </c:pt>
                <c:pt idx="281">
                  <c:v>52749</c:v>
                </c:pt>
                <c:pt idx="282">
                  <c:v>52779</c:v>
                </c:pt>
                <c:pt idx="283">
                  <c:v>52810</c:v>
                </c:pt>
                <c:pt idx="284">
                  <c:v>52841</c:v>
                </c:pt>
                <c:pt idx="285">
                  <c:v>52871</c:v>
                </c:pt>
                <c:pt idx="286">
                  <c:v>52902</c:v>
                </c:pt>
                <c:pt idx="287">
                  <c:v>52932</c:v>
                </c:pt>
                <c:pt idx="288">
                  <c:v>52963</c:v>
                </c:pt>
                <c:pt idx="289">
                  <c:v>52994</c:v>
                </c:pt>
                <c:pt idx="290">
                  <c:v>53022</c:v>
                </c:pt>
                <c:pt idx="291">
                  <c:v>53053</c:v>
                </c:pt>
                <c:pt idx="292">
                  <c:v>53083</c:v>
                </c:pt>
                <c:pt idx="293">
                  <c:v>53114</c:v>
                </c:pt>
                <c:pt idx="294">
                  <c:v>53144</c:v>
                </c:pt>
                <c:pt idx="295">
                  <c:v>53175</c:v>
                </c:pt>
                <c:pt idx="296">
                  <c:v>53206</c:v>
                </c:pt>
                <c:pt idx="297">
                  <c:v>53236</c:v>
                </c:pt>
                <c:pt idx="298">
                  <c:v>53267</c:v>
                </c:pt>
                <c:pt idx="299">
                  <c:v>53297</c:v>
                </c:pt>
                <c:pt idx="300">
                  <c:v>53328</c:v>
                </c:pt>
                <c:pt idx="301">
                  <c:v>53359</c:v>
                </c:pt>
                <c:pt idx="302">
                  <c:v>53387</c:v>
                </c:pt>
                <c:pt idx="303">
                  <c:v>53418</c:v>
                </c:pt>
                <c:pt idx="304">
                  <c:v>53448</c:v>
                </c:pt>
                <c:pt idx="305">
                  <c:v>53479</c:v>
                </c:pt>
                <c:pt idx="306">
                  <c:v>53509</c:v>
                </c:pt>
                <c:pt idx="307">
                  <c:v>53540</c:v>
                </c:pt>
                <c:pt idx="308">
                  <c:v>53571</c:v>
                </c:pt>
                <c:pt idx="309">
                  <c:v>53601</c:v>
                </c:pt>
                <c:pt idx="310">
                  <c:v>53632</c:v>
                </c:pt>
                <c:pt idx="311">
                  <c:v>53662</c:v>
                </c:pt>
                <c:pt idx="312">
                  <c:v>53693</c:v>
                </c:pt>
                <c:pt idx="313">
                  <c:v>53724</c:v>
                </c:pt>
                <c:pt idx="314">
                  <c:v>53752</c:v>
                </c:pt>
                <c:pt idx="315">
                  <c:v>53783</c:v>
                </c:pt>
                <c:pt idx="316">
                  <c:v>53813</c:v>
                </c:pt>
                <c:pt idx="317">
                  <c:v>53844</c:v>
                </c:pt>
                <c:pt idx="318">
                  <c:v>53874</c:v>
                </c:pt>
                <c:pt idx="319">
                  <c:v>53905</c:v>
                </c:pt>
                <c:pt idx="320">
                  <c:v>53936</c:v>
                </c:pt>
                <c:pt idx="321">
                  <c:v>53966</c:v>
                </c:pt>
                <c:pt idx="322">
                  <c:v>53997</c:v>
                </c:pt>
                <c:pt idx="323">
                  <c:v>54027</c:v>
                </c:pt>
                <c:pt idx="324">
                  <c:v>54058</c:v>
                </c:pt>
                <c:pt idx="325">
                  <c:v>54089</c:v>
                </c:pt>
                <c:pt idx="326">
                  <c:v>54118</c:v>
                </c:pt>
                <c:pt idx="327">
                  <c:v>54149</c:v>
                </c:pt>
                <c:pt idx="328">
                  <c:v>54179</c:v>
                </c:pt>
                <c:pt idx="329">
                  <c:v>54210</c:v>
                </c:pt>
                <c:pt idx="330">
                  <c:v>54240</c:v>
                </c:pt>
                <c:pt idx="331">
                  <c:v>54271</c:v>
                </c:pt>
                <c:pt idx="332">
                  <c:v>54302</c:v>
                </c:pt>
                <c:pt idx="333">
                  <c:v>54332</c:v>
                </c:pt>
                <c:pt idx="334">
                  <c:v>54363</c:v>
                </c:pt>
                <c:pt idx="335">
                  <c:v>54393</c:v>
                </c:pt>
                <c:pt idx="336">
                  <c:v>54424</c:v>
                </c:pt>
                <c:pt idx="337">
                  <c:v>54455</c:v>
                </c:pt>
                <c:pt idx="338">
                  <c:v>54483</c:v>
                </c:pt>
                <c:pt idx="339">
                  <c:v>54514</c:v>
                </c:pt>
                <c:pt idx="340">
                  <c:v>54544</c:v>
                </c:pt>
                <c:pt idx="341">
                  <c:v>54575</c:v>
                </c:pt>
                <c:pt idx="342">
                  <c:v>54605</c:v>
                </c:pt>
                <c:pt idx="343">
                  <c:v>54636</c:v>
                </c:pt>
                <c:pt idx="344">
                  <c:v>54667</c:v>
                </c:pt>
                <c:pt idx="345">
                  <c:v>54697</c:v>
                </c:pt>
                <c:pt idx="346">
                  <c:v>54728</c:v>
                </c:pt>
                <c:pt idx="347">
                  <c:v>54758</c:v>
                </c:pt>
                <c:pt idx="348">
                  <c:v>54789</c:v>
                </c:pt>
                <c:pt idx="349">
                  <c:v>54820</c:v>
                </c:pt>
                <c:pt idx="350">
                  <c:v>54848</c:v>
                </c:pt>
                <c:pt idx="351">
                  <c:v>54879</c:v>
                </c:pt>
                <c:pt idx="352">
                  <c:v>54909</c:v>
                </c:pt>
                <c:pt idx="353">
                  <c:v>54940</c:v>
                </c:pt>
                <c:pt idx="354">
                  <c:v>54970</c:v>
                </c:pt>
                <c:pt idx="355">
                  <c:v>55001</c:v>
                </c:pt>
                <c:pt idx="356">
                  <c:v>55032</c:v>
                </c:pt>
                <c:pt idx="357">
                  <c:v>55062</c:v>
                </c:pt>
                <c:pt idx="358">
                  <c:v>55093</c:v>
                </c:pt>
                <c:pt idx="359">
                  <c:v>55123</c:v>
                </c:pt>
                <c:pt idx="360">
                  <c:v>55154</c:v>
                </c:pt>
                <c:pt idx="361">
                  <c:v>55185</c:v>
                </c:pt>
                <c:pt idx="362">
                  <c:v>55213</c:v>
                </c:pt>
                <c:pt idx="363">
                  <c:v>55244</c:v>
                </c:pt>
                <c:pt idx="364">
                  <c:v>55274</c:v>
                </c:pt>
                <c:pt idx="365">
                  <c:v>55305</c:v>
                </c:pt>
                <c:pt idx="366">
                  <c:v>55335</c:v>
                </c:pt>
                <c:pt idx="367">
                  <c:v>55366</c:v>
                </c:pt>
                <c:pt idx="368">
                  <c:v>55397</c:v>
                </c:pt>
                <c:pt idx="369">
                  <c:v>55427</c:v>
                </c:pt>
                <c:pt idx="370">
                  <c:v>55458</c:v>
                </c:pt>
                <c:pt idx="371">
                  <c:v>55488</c:v>
                </c:pt>
                <c:pt idx="372">
                  <c:v>55519</c:v>
                </c:pt>
                <c:pt idx="373">
                  <c:v>55550</c:v>
                </c:pt>
                <c:pt idx="374">
                  <c:v>55579</c:v>
                </c:pt>
                <c:pt idx="375">
                  <c:v>55610</c:v>
                </c:pt>
                <c:pt idx="376">
                  <c:v>55640</c:v>
                </c:pt>
                <c:pt idx="377">
                  <c:v>55671</c:v>
                </c:pt>
                <c:pt idx="378">
                  <c:v>55701</c:v>
                </c:pt>
                <c:pt idx="379">
                  <c:v>55732</c:v>
                </c:pt>
              </c:numCache>
            </c:numRef>
          </c:cat>
          <c:val>
            <c:numRef>
              <c:f>'Interest accrual'!$E$8:$E$387</c:f>
              <c:numCache>
                <c:formatCode>_(* #,##0_);_(* \(#,##0\);_(* "-"??_);_(@_)</c:formatCode>
                <c:ptCount val="380"/>
                <c:pt idx="0">
                  <c:v>1000000</c:v>
                </c:pt>
                <c:pt idx="1">
                  <c:v>1008529.3198133156</c:v>
                </c:pt>
                <c:pt idx="2">
                  <c:v>1016295.7339881347</c:v>
                </c:pt>
                <c:pt idx="3">
                  <c:v>1024964.0453282278</c:v>
                </c:pt>
                <c:pt idx="4">
                  <c:v>1033423.1230568048</c:v>
                </c:pt>
                <c:pt idx="5">
                  <c:v>1042237.5193758316</c:v>
                </c:pt>
                <c:pt idx="6">
                  <c:v>1050839.1559193027</c:v>
                </c:pt>
                <c:pt idx="7">
                  <c:v>1059802.0991524933</c:v>
                </c:pt>
                <c:pt idx="8">
                  <c:v>1068841.490194988</c:v>
                </c:pt>
                <c:pt idx="9">
                  <c:v>1077662.690593478</c:v>
                </c:pt>
                <c:pt idx="10">
                  <c:v>1086854.4203324281</c:v>
                </c:pt>
                <c:pt idx="11">
                  <c:v>1095824.2823126062</c:v>
                </c:pt>
                <c:pt idx="12">
                  <c:v>1105170.9180756477</c:v>
                </c:pt>
                <c:pt idx="13">
                  <c:v>1114597.2742842904</c:v>
                </c:pt>
                <c:pt idx="14">
                  <c:v>1123180.4893680308</c:v>
                </c:pt>
                <c:pt idx="15">
                  <c:v>1132760.4549699272</c:v>
                </c:pt>
                <c:pt idx="16">
                  <c:v>1142109.1816692918</c:v>
                </c:pt>
                <c:pt idx="17">
                  <c:v>1151850.5961414734</c:v>
                </c:pt>
                <c:pt idx="18">
                  <c:v>1161356.8746971744</c:v>
                </c:pt>
                <c:pt idx="19">
                  <c:v>1171262.4588988593</c:v>
                </c:pt>
                <c:pt idx="20">
                  <c:v>1181252.5309961382</c:v>
                </c:pt>
                <c:pt idx="21">
                  <c:v>1191001.4651390668</c:v>
                </c:pt>
                <c:pt idx="22">
                  <c:v>1201159.8975333653</c:v>
                </c:pt>
                <c:pt idx="23">
                  <c:v>1211073.1281330108</c:v>
                </c:pt>
                <c:pt idx="24">
                  <c:v>1221402.7581601699</c:v>
                </c:pt>
                <c:pt idx="25">
                  <c:v>1231820.4929053837</c:v>
                </c:pt>
                <c:pt idx="26">
                  <c:v>1241306.4125995219</c:v>
                </c:pt>
                <c:pt idx="27">
                  <c:v>1251893.9119789028</c:v>
                </c:pt>
                <c:pt idx="28">
                  <c:v>1262225.8528480779</c:v>
                </c:pt>
                <c:pt idx="29">
                  <c:v>1272991.7808236543</c:v>
                </c:pt>
                <c:pt idx="30">
                  <c:v>1283497.8434225412</c:v>
                </c:pt>
                <c:pt idx="31">
                  <c:v>1294445.2070087928</c:v>
                </c:pt>
                <c:pt idx="32">
                  <c:v>1305485.9441601846</c:v>
                </c:pt>
                <c:pt idx="33">
                  <c:v>1316260.1826571838</c:v>
                </c:pt>
                <c:pt idx="34">
                  <c:v>1327486.9867126003</c:v>
                </c:pt>
                <c:pt idx="35">
                  <c:v>1338442.8008755061</c:v>
                </c:pt>
                <c:pt idx="36">
                  <c:v>1349858.8075760033</c:v>
                </c:pt>
                <c:pt idx="37">
                  <c:v>1361372.1850486398</c:v>
                </c:pt>
                <c:pt idx="38">
                  <c:v>1372231.6500066882</c:v>
                </c:pt>
                <c:pt idx="39">
                  <c:v>1383935.8526075492</c:v>
                </c:pt>
                <c:pt idx="40">
                  <c:v>1395357.5419847826</c:v>
                </c:pt>
                <c:pt idx="41">
                  <c:v>1407258.9927142926</c:v>
                </c:pt>
                <c:pt idx="42">
                  <c:v>1418873.1690923499</c:v>
                </c:pt>
                <c:pt idx="43">
                  <c:v>1430975.1921260711</c:v>
                </c:pt>
                <c:pt idx="44">
                  <c:v>1443180.4371846353</c:v>
                </c:pt>
                <c:pt idx="45">
                  <c:v>1455091.0749773951</c:v>
                </c:pt>
                <c:pt idx="46">
                  <c:v>1467502.0121133786</c:v>
                </c:pt>
                <c:pt idx="47">
                  <c:v>1479613.3770377305</c:v>
                </c:pt>
                <c:pt idx="48">
                  <c:v>1492233.4727305451</c:v>
                </c:pt>
                <c:pt idx="49">
                  <c:v>1504961.2092555987</c:v>
                </c:pt>
                <c:pt idx="50">
                  <c:v>1516550.5124503525</c:v>
                </c:pt>
                <c:pt idx="51">
                  <c:v>1529485.6567840893</c:v>
                </c:pt>
                <c:pt idx="52">
                  <c:v>1542108.5757191014</c:v>
                </c:pt>
                <c:pt idx="53">
                  <c:v>1555261.712948266</c:v>
                </c:pt>
                <c:pt idx="54">
                  <c:v>1568097.3629186961</c:v>
                </c:pt>
                <c:pt idx="55">
                  <c:v>1581472.1668254465</c:v>
                </c:pt>
                <c:pt idx="56">
                  <c:v>1594961.0487121579</c:v>
                </c:pt>
                <c:pt idx="57">
                  <c:v>1608124.3392164488</c:v>
                </c:pt>
                <c:pt idx="58">
                  <c:v>1621840.5460052027</c:v>
                </c:pt>
                <c:pt idx="59">
                  <c:v>1635225.6742977977</c:v>
                </c:pt>
                <c:pt idx="60">
                  <c:v>1649173.0370408287</c:v>
                </c:pt>
                <c:pt idx="61">
                  <c:v>1663239.3613012468</c:v>
                </c:pt>
                <c:pt idx="62">
                  <c:v>1676047.5221528499</c:v>
                </c:pt>
                <c:pt idx="63">
                  <c:v>1690343.0674916068</c:v>
                </c:pt>
                <c:pt idx="64">
                  <c:v>1704293.5503998084</c:v>
                </c:pt>
                <c:pt idx="65">
                  <c:v>1718830.0151469395</c:v>
                </c:pt>
                <c:pt idx="66">
                  <c:v>1733015.6022088574</c:v>
                </c:pt>
                <c:pt idx="67">
                  <c:v>1747797.0465215624</c:v>
                </c:pt>
                <c:pt idx="68">
                  <c:v>1762704.5665001133</c:v>
                </c:pt>
                <c:pt idx="69">
                  <c:v>1777252.252351637</c:v>
                </c:pt>
                <c:pt idx="70">
                  <c:v>1792411.0052008796</c:v>
                </c:pt>
                <c:pt idx="71">
                  <c:v>1807203.8597245673</c:v>
                </c:pt>
                <c:pt idx="72">
                  <c:v>1822618.0794120163</c:v>
                </c:pt>
                <c:pt idx="73">
                  <c:v>1838163.7719088525</c:v>
                </c:pt>
                <c:pt idx="74">
                  <c:v>1852318.9787960795</c:v>
                </c:pt>
                <c:pt idx="75">
                  <c:v>1868117.9997625055</c:v>
                </c:pt>
                <c:pt idx="76">
                  <c:v>1883535.6677657613</c:v>
                </c:pt>
                <c:pt idx="77">
                  <c:v>1899600.9458559228</c:v>
                </c:pt>
                <c:pt idx="78">
                  <c:v>1915278.4441325841</c:v>
                </c:pt>
                <c:pt idx="79">
                  <c:v>1931614.4665141406</c:v>
                </c:pt>
                <c:pt idx="80">
                  <c:v>1948089.8240550668</c:v>
                </c:pt>
                <c:pt idx="81">
                  <c:v>1964167.5033834712</c:v>
                </c:pt>
                <c:pt idx="82">
                  <c:v>1980920.5161867505</c:v>
                </c:pt>
                <c:pt idx="83">
                  <c:v>1997269.1488016539</c:v>
                </c:pt>
                <c:pt idx="84">
                  <c:v>2014304.4961250518</c:v>
                </c:pt>
                <c:pt idx="85">
                  <c:v>2031485.143373902</c:v>
                </c:pt>
                <c:pt idx="86">
                  <c:v>2047690.0004802463</c:v>
                </c:pt>
                <c:pt idx="87">
                  <c:v>2065155.403372871</c:v>
                </c:pt>
                <c:pt idx="88">
                  <c:v>2082199.2305767094</c:v>
                </c:pt>
                <c:pt idx="89">
                  <c:v>2099958.973729338</c:v>
                </c:pt>
                <c:pt idx="90">
                  <c:v>2117290.0364788715</c:v>
                </c:pt>
                <c:pt idx="91">
                  <c:v>2135349.0803375468</c:v>
                </c:pt>
                <c:pt idx="92">
                  <c:v>2153562.1555568147</c:v>
                </c:pt>
                <c:pt idx="93">
                  <c:v>2171335.6079527405</c:v>
                </c:pt>
                <c:pt idx="94">
                  <c:v>2189855.6237750095</c:v>
                </c:pt>
                <c:pt idx="95">
                  <c:v>2207928.6079155821</c:v>
                </c:pt>
                <c:pt idx="96">
                  <c:v>2226760.7371374625</c:v>
                </c:pt>
                <c:pt idx="97">
                  <c:v>2245753.4916122425</c:v>
                </c:pt>
                <c:pt idx="98">
                  <c:v>2263047.4377650772</c:v>
                </c:pt>
                <c:pt idx="99">
                  <c:v>2282349.69311448</c:v>
                </c:pt>
                <c:pt idx="100">
                  <c:v>2301186.0352728688</c:v>
                </c:pt>
                <c:pt idx="101">
                  <c:v>2320813.5869176476</c:v>
                </c:pt>
                <c:pt idx="102">
                  <c:v>2339967.3734477754</c:v>
                </c:pt>
                <c:pt idx="103">
                  <c:v>2359925.7035286357</c:v>
                </c:pt>
                <c:pt idx="104">
                  <c:v>2380054.2645896957</c:v>
                </c:pt>
                <c:pt idx="105">
                  <c:v>2399696.9672914743</c:v>
                </c:pt>
                <c:pt idx="106">
                  <c:v>2420164.7501805471</c:v>
                </c:pt>
                <c:pt idx="107">
                  <c:v>2440138.4866555501</c:v>
                </c:pt>
                <c:pt idx="108">
                  <c:v>2460951.2081970158</c:v>
                </c:pt>
                <c:pt idx="109">
                  <c:v>2481941.4480966935</c:v>
                </c:pt>
                <c:pt idx="110">
                  <c:v>2501054.2144435728</c:v>
                </c:pt>
                <c:pt idx="111">
                  <c:v>2522386.5057090032</c:v>
                </c:pt>
                <c:pt idx="112">
                  <c:v>2543203.883265377</c:v>
                </c:pt>
                <c:pt idx="113">
                  <c:v>2564895.6825362132</c:v>
                </c:pt>
                <c:pt idx="114">
                  <c:v>2586063.8903803397</c:v>
                </c:pt>
                <c:pt idx="115">
                  <c:v>2608121.2563590617</c:v>
                </c:pt>
                <c:pt idx="116">
                  <c:v>2630366.7566664545</c:v>
                </c:pt>
                <c:pt idx="117">
                  <c:v>2652075.3004448661</c:v>
                </c:pt>
                <c:pt idx="118">
                  <c:v>2674695.6988513563</c:v>
                </c:pt>
                <c:pt idx="119">
                  <c:v>2696770.0915288362</c:v>
                </c:pt>
                <c:pt idx="120">
                  <c:v>2719771.7061024699</c:v>
                </c:pt>
                <c:pt idx="121">
                  <c:v>2742969.5088030249</c:v>
                </c:pt>
                <c:pt idx="122">
                  <c:v>2764092.3823335706</c:v>
                </c:pt>
                <c:pt idx="123">
                  <c:v>2787668.2102560434</c:v>
                </c:pt>
                <c:pt idx="124">
                  <c:v>2810674.9705219488</c:v>
                </c:pt>
                <c:pt idx="125">
                  <c:v>2834648.1162368115</c:v>
                </c:pt>
                <c:pt idx="126">
                  <c:v>2858042.6039339211</c:v>
                </c:pt>
                <c:pt idx="127">
                  <c:v>2882419.7633429551</c:v>
                </c:pt>
                <c:pt idx="128">
                  <c:v>2907004.8433407289</c:v>
                </c:pt>
                <c:pt idx="129">
                  <c:v>2930996.4945984022</c:v>
                </c:pt>
                <c:pt idx="130">
                  <c:v>2955995.9010725389</c:v>
                </c:pt>
                <c:pt idx="131">
                  <c:v>2980391.8778938721</c:v>
                </c:pt>
                <c:pt idx="132">
                  <c:v>3005812.5933894371</c:v>
                </c:pt>
                <c:pt idx="133">
                  <c:v>3031450.130297347</c:v>
                </c:pt>
                <c:pt idx="134">
                  <c:v>3055631.5604922501</c:v>
                </c:pt>
                <c:pt idx="135">
                  <c:v>3081694.0193033493</c:v>
                </c:pt>
                <c:pt idx="136">
                  <c:v>3107127.388760352</c:v>
                </c:pt>
                <c:pt idx="137">
                  <c:v>3133629.0719598019</c:v>
                </c:pt>
                <c:pt idx="138">
                  <c:v>3159491.0639126487</c:v>
                </c:pt>
                <c:pt idx="139">
                  <c:v>3186439.3736440726</c:v>
                </c:pt>
                <c:pt idx="140">
                  <c:v>3213617.5341276242</c:v>
                </c:pt>
                <c:pt idx="141">
                  <c:v>3240139.6747188075</c:v>
                </c:pt>
                <c:pt idx="142">
                  <c:v>3267775.8622442968</c:v>
                </c:pt>
                <c:pt idx="143">
                  <c:v>3294744.9741309877</c:v>
                </c:pt>
                <c:pt idx="144">
                  <c:v>3322846.9077186645</c:v>
                </c:pt>
                <c:pt idx="145">
                  <c:v>3351188.5316852843</c:v>
                </c:pt>
                <c:pt idx="146">
                  <c:v>3376995.1370101441</c:v>
                </c:pt>
                <c:pt idx="147">
                  <c:v>3405798.6085417145</c:v>
                </c:pt>
                <c:pt idx="148">
                  <c:v>3433906.8288142681</c:v>
                </c:pt>
                <c:pt idx="149">
                  <c:v>3463195.7183663538</c:v>
                </c:pt>
                <c:pt idx="150">
                  <c:v>3491777.6397561473</c:v>
                </c:pt>
                <c:pt idx="151">
                  <c:v>3521560.1279626116</c:v>
                </c:pt>
                <c:pt idx="152">
                  <c:v>3551596.6405358259</c:v>
                </c:pt>
                <c:pt idx="153">
                  <c:v>3580908.1390023143</c:v>
                </c:pt>
                <c:pt idx="154">
                  <c:v>3611450.8497419707</c:v>
                </c:pt>
                <c:pt idx="155">
                  <c:v>3641256.327885469</c:v>
                </c:pt>
                <c:pt idx="156">
                  <c:v>3672313.7676282632</c:v>
                </c:pt>
                <c:pt idx="157">
                  <c:v>3703636.1062072068</c:v>
                </c:pt>
                <c:pt idx="158">
                  <c:v>3732156.8159064976</c:v>
                </c:pt>
                <c:pt idx="159">
                  <c:v>3763989.5749828103</c:v>
                </c:pt>
                <c:pt idx="160">
                  <c:v>3795053.9625869012</c:v>
                </c:pt>
                <c:pt idx="161">
                  <c:v>3827423.1915425956</c:v>
                </c:pt>
                <c:pt idx="162">
                  <c:v>3859011.0998453195</c:v>
                </c:pt>
                <c:pt idx="163">
                  <c:v>3891925.839679034</c:v>
                </c:pt>
                <c:pt idx="164">
                  <c:v>3925121.319855364</c:v>
                </c:pt>
                <c:pt idx="165">
                  <c:v>3957515.5355257466</c:v>
                </c:pt>
                <c:pt idx="166">
                  <c:v>3991270.4511944111</c:v>
                </c:pt>
                <c:pt idx="167">
                  <c:v>4024210.5988379456</c:v>
                </c:pt>
                <c:pt idx="168">
                  <c:v>4058534.3780315686</c:v>
                </c:pt>
                <c:pt idx="169">
                  <c:v>4093150.9157151352</c:v>
                </c:pt>
                <c:pt idx="170">
                  <c:v>4124671.1746376706</c:v>
                </c:pt>
                <c:pt idx="171">
                  <c:v>4159851.8142109197</c:v>
                </c:pt>
                <c:pt idx="172">
                  <c:v>4194183.2719787904</c:v>
                </c:pt>
                <c:pt idx="173">
                  <c:v>4229956.8024611548</c:v>
                </c:pt>
                <c:pt idx="174">
                  <c:v>4264866.8400801653</c:v>
                </c:pt>
                <c:pt idx="175">
                  <c:v>4301243.2533204136</c:v>
                </c:pt>
                <c:pt idx="176">
                  <c:v>4337929.9326228499</c:v>
                </c:pt>
                <c:pt idx="177">
                  <c:v>4373731.0776956277</c:v>
                </c:pt>
                <c:pt idx="178">
                  <c:v>4411036.0288347322</c:v>
                </c:pt>
                <c:pt idx="179">
                  <c:v>4447440.5220474834</c:v>
                </c:pt>
                <c:pt idx="180">
                  <c:v>4485374.1646107268</c:v>
                </c:pt>
                <c:pt idx="181">
                  <c:v>4523631.3553430736</c:v>
                </c:pt>
                <c:pt idx="182">
                  <c:v>4559715.6948984051</c:v>
                </c:pt>
                <c:pt idx="183">
                  <c:v>4598606.9683179874</c:v>
                </c:pt>
                <c:pt idx="184">
                  <c:v>4636559.493546051</c:v>
                </c:pt>
                <c:pt idx="185">
                  <c:v>4676106.1922999704</c:v>
                </c:pt>
                <c:pt idx="186">
                  <c:v>4714698.3223634968</c:v>
                </c:pt>
                <c:pt idx="187">
                  <c:v>4754911.492178238</c:v>
                </c:pt>
                <c:pt idx="188">
                  <c:v>4795467.6529790359</c:v>
                </c:pt>
                <c:pt idx="189">
                  <c:v>4835044.8789376654</c:v>
                </c:pt>
                <c:pt idx="190">
                  <c:v>4876284.5230218591</c:v>
                </c:pt>
                <c:pt idx="191">
                  <c:v>4916528.734508994</c:v>
                </c:pt>
                <c:pt idx="192">
                  <c:v>4958463.3804569766</c:v>
                </c:pt>
                <c:pt idx="193">
                  <c:v>5000755.7004115079</c:v>
                </c:pt>
                <c:pt idx="194">
                  <c:v>5039265.1806948101</c:v>
                </c:pt>
                <c:pt idx="195">
                  <c:v>5082246.6850450607</c:v>
                </c:pt>
                <c:pt idx="196">
                  <c:v>5124190.7121946486</c:v>
                </c:pt>
                <c:pt idx="197">
                  <c:v>5167896.5735633802</c:v>
                </c:pt>
                <c:pt idx="198">
                  <c:v>5210547.473376181</c:v>
                </c:pt>
                <c:pt idx="199">
                  <c:v>5254989.8991790712</c:v>
                </c:pt>
                <c:pt idx="200">
                  <c:v>5299811.3886449132</c:v>
                </c:pt>
                <c:pt idx="201">
                  <c:v>5343550.9877924994</c:v>
                </c:pt>
                <c:pt idx="202">
                  <c:v>5389127.8431061395</c:v>
                </c:pt>
                <c:pt idx="203">
                  <c:v>5433604.5752626061</c:v>
                </c:pt>
                <c:pt idx="204">
                  <c:v>5479949.5264241174</c:v>
                </c:pt>
                <c:pt idx="205">
                  <c:v>5526689.7684958149</c:v>
                </c:pt>
                <c:pt idx="206">
                  <c:v>5569249.3261751281</c:v>
                </c:pt>
                <c:pt idx="207">
                  <c:v>5616751.2347981688</c:v>
                </c:pt>
                <c:pt idx="208">
                  <c:v>5663106.5537908683</c:v>
                </c:pt>
                <c:pt idx="209">
                  <c:v>5711409.0007250328</c:v>
                </c:pt>
                <c:pt idx="210">
                  <c:v>5758545.5348279001</c:v>
                </c:pt>
                <c:pt idx="211">
                  <c:v>5807662.0113539882</c:v>
                </c:pt>
                <c:pt idx="212">
                  <c:v>5857197.418016471</c:v>
                </c:pt>
                <c:pt idx="213">
                  <c:v>5905537.1509626685</c:v>
                </c:pt>
                <c:pt idx="214">
                  <c:v>5955907.3659926457</c:v>
                </c:pt>
                <c:pt idx="215">
                  <c:v>6005061.7569030141</c:v>
                </c:pt>
                <c:pt idx="216">
                  <c:v>6056280.8491263511</c:v>
                </c:pt>
                <c:pt idx="217">
                  <c:v>6107936.8053678079</c:v>
                </c:pt>
                <c:pt idx="218">
                  <c:v>6154972.3908011485</c:v>
                </c:pt>
                <c:pt idx="219">
                  <c:v>6207470.1187644191</c:v>
                </c:pt>
                <c:pt idx="220">
                  <c:v>6258700.6692132708</c:v>
                </c:pt>
                <c:pt idx="221">
                  <c:v>6312083.1288368022</c:v>
                </c:pt>
                <c:pt idx="222">
                  <c:v>6364177.0555061707</c:v>
                </c:pt>
                <c:pt idx="223">
                  <c:v>6418459.1569611505</c:v>
                </c:pt>
                <c:pt idx="224">
                  <c:v>6473204.2478195764</c:v>
                </c:pt>
                <c:pt idx="225">
                  <c:v>6526627.9148592576</c:v>
                </c:pt>
                <c:pt idx="226">
                  <c:v>6582295.6116476059</c:v>
                </c:pt>
                <c:pt idx="227">
                  <c:v>6636619.6149774659</c:v>
                </c:pt>
                <c:pt idx="228">
                  <c:v>6693225.4661529334</c:v>
                </c:pt>
                <c:pt idx="229">
                  <c:v>6750314.1267363783</c:v>
                </c:pt>
                <c:pt idx="230">
                  <c:v>6804160.3860622188</c:v>
                </c:pt>
                <c:pt idx="231">
                  <c:v>6862195.2460560352</c:v>
                </c:pt>
                <c:pt idx="232">
                  <c:v>6918829.2745760018</c:v>
                </c:pt>
                <c:pt idx="233">
                  <c:v>6977842.182192592</c:v>
                </c:pt>
                <c:pt idx="234">
                  <c:v>7035430.6504573561</c:v>
                </c:pt>
                <c:pt idx="235">
                  <c:v>7095438.0884995107</c:v>
                </c:pt>
                <c:pt idx="236">
                  <c:v>7155957.3491719039</c:v>
                </c:pt>
                <c:pt idx="237">
                  <c:v>7215015.8105051909</c:v>
                </c:pt>
                <c:pt idx="238">
                  <c:v>7276554.9878111193</c:v>
                </c:pt>
                <c:pt idx="239">
                  <c:v>7336608.7472758684</c:v>
                </c:pt>
                <c:pt idx="240">
                  <c:v>7399185.029626552</c:v>
                </c:pt>
                <c:pt idx="241">
                  <c:v>7462295.0451021362</c:v>
                </c:pt>
                <c:pt idx="242">
                  <c:v>7519760.1805983363</c:v>
                </c:pt>
                <c:pt idx="243">
                  <c:v>7583898.6200980945</c:v>
                </c:pt>
                <c:pt idx="244">
                  <c:v>7646488.9013918256</c:v>
                </c:pt>
                <c:pt idx="245">
                  <c:v>7711708.2506807679</c:v>
                </c:pt>
                <c:pt idx="246">
                  <c:v>7775353.3510235064</c:v>
                </c:pt>
                <c:pt idx="247">
                  <c:v>7841671.8264159234</c:v>
                </c:pt>
                <c:pt idx="248">
                  <c:v>7908555.9532944905</c:v>
                </c:pt>
                <c:pt idx="249">
                  <c:v>7973825.6472263355</c:v>
                </c:pt>
                <c:pt idx="250">
                  <c:v>8041836.9563071458</c:v>
                </c:pt>
                <c:pt idx="251">
                  <c:v>8108206.6247886997</c:v>
                </c:pt>
                <c:pt idx="252">
                  <c:v>8177364.1122039659</c:v>
                </c:pt>
                <c:pt idx="253">
                  <c:v>8247111.4659468811</c:v>
                </c:pt>
                <c:pt idx="254">
                  <c:v>8310620.2625005618</c:v>
                </c:pt>
                <c:pt idx="255">
                  <c:v>8381504.2005664483</c:v>
                </c:pt>
                <c:pt idx="256">
                  <c:v>8450677.1592064556</c:v>
                </c:pt>
                <c:pt idx="257">
                  <c:v>8522755.6873364095</c:v>
                </c:pt>
                <c:pt idx="258">
                  <c:v>8593094.4013132118</c:v>
                </c:pt>
                <c:pt idx="259">
                  <c:v>8666387.651648026</c:v>
                </c:pt>
                <c:pt idx="260">
                  <c:v>8740306.0435551014</c:v>
                </c:pt>
                <c:pt idx="261">
                  <c:v>8812440.2111202758</c:v>
                </c:pt>
                <c:pt idx="262">
                  <c:v>8887604.3320166413</c:v>
                </c:pt>
                <c:pt idx="263">
                  <c:v>8960954.1594647765</c:v>
                </c:pt>
                <c:pt idx="264">
                  <c:v>9037385.0033233073</c:v>
                </c:pt>
                <c:pt idx="265">
                  <c:v>9114467.7502927147</c:v>
                </c:pt>
                <c:pt idx="266">
                  <c:v>9184655.8252858259</c:v>
                </c:pt>
                <c:pt idx="267">
                  <c:v>9262994.6921949163</c:v>
                </c:pt>
                <c:pt idx="268">
                  <c:v>9339442.6344011035</c:v>
                </c:pt>
                <c:pt idx="269">
                  <c:v>9419101.7275080252</c:v>
                </c:pt>
                <c:pt idx="270">
                  <c:v>9496838.0286100321</c:v>
                </c:pt>
                <c:pt idx="271">
                  <c:v>9577839.5973713025</c:v>
                </c:pt>
                <c:pt idx="272">
                  <c:v>9659532.0544179231</c:v>
                </c:pt>
                <c:pt idx="273">
                  <c:v>9739252.6386105437</c:v>
                </c:pt>
                <c:pt idx="274">
                  <c:v>9822321.8391079362</c:v>
                </c:pt>
                <c:pt idx="275">
                  <c:v>9903385.9352494758</c:v>
                </c:pt>
                <c:pt idx="276">
                  <c:v>9987855.0811259095</c:v>
                </c:pt>
                <c:pt idx="277">
                  <c:v>10073044.691361884</c:v>
                </c:pt>
                <c:pt idx="278">
                  <c:v>10153395.881909231</c:v>
                </c:pt>
                <c:pt idx="279">
                  <c:v>10239997.442577237</c:v>
                </c:pt>
                <c:pt idx="280">
                  <c:v>10324508.635630306</c:v>
                </c:pt>
                <c:pt idx="281">
                  <c:v>10412569.671698939</c:v>
                </c:pt>
                <c:pt idx="282">
                  <c:v>10498505.1116869</c:v>
                </c:pt>
                <c:pt idx="283">
                  <c:v>10588050.21934621</c:v>
                </c:pt>
                <c:pt idx="284">
                  <c:v>10678359.085866457</c:v>
                </c:pt>
                <c:pt idx="285">
                  <c:v>10766488.098715948</c:v>
                </c:pt>
                <c:pt idx="286">
                  <c:v>10858318.91897615</c:v>
                </c:pt>
                <c:pt idx="287">
                  <c:v>10947933.149012761</c:v>
                </c:pt>
                <c:pt idx="288">
                  <c:v>11041311.572135489</c:v>
                </c:pt>
                <c:pt idx="289">
                  <c:v>11135486.4496927</c:v>
                </c:pt>
                <c:pt idx="290">
                  <c:v>11221237.848395126</c:v>
                </c:pt>
                <c:pt idx="291">
                  <c:v>11316947.374705367</c:v>
                </c:pt>
                <c:pt idx="292">
                  <c:v>11410346.687519498</c:v>
                </c:pt>
                <c:pt idx="293">
                  <c:v>11507669.183598157</c:v>
                </c:pt>
                <c:pt idx="294">
                  <c:v>11602642.532704892</c:v>
                </c:pt>
                <c:pt idx="295">
                  <c:v>11701605.181545908</c:v>
                </c:pt>
                <c:pt idx="296">
                  <c:v>11801411.914468467</c:v>
                </c:pt>
                <c:pt idx="297">
                  <c:v>11898809.536508439</c:v>
                </c:pt>
                <c:pt idx="298">
                  <c:v>12000298.288443048</c:v>
                </c:pt>
                <c:pt idx="299">
                  <c:v>12099337.329325251</c:v>
                </c:pt>
                <c:pt idx="300">
                  <c:v>12202536.446936252</c:v>
                </c:pt>
                <c:pt idx="301">
                  <c:v>12306615.782825815</c:v>
                </c:pt>
                <c:pt idx="302">
                  <c:v>12401385.734856045</c:v>
                </c:pt>
                <c:pt idx="303">
                  <c:v>12507161.119916921</c:v>
                </c:pt>
                <c:pt idx="304">
                  <c:v>12610383.324207349</c:v>
                </c:pt>
                <c:pt idx="305">
                  <c:v>12717941.316548014</c:v>
                </c:pt>
                <c:pt idx="306">
                  <c:v>12822903.099973019</c:v>
                </c:pt>
                <c:pt idx="307">
                  <c:v>12932273.741447847</c:v>
                </c:pt>
                <c:pt idx="308">
                  <c:v>13042577.240102004</c:v>
                </c:pt>
                <c:pt idx="309">
                  <c:v>13150218.259470304</c:v>
                </c:pt>
                <c:pt idx="310">
                  <c:v>13262380.676620226</c:v>
                </c:pt>
                <c:pt idx="311">
                  <c:v>13371835.744357338</c:v>
                </c:pt>
                <c:pt idx="312">
                  <c:v>13485888.40791209</c:v>
                </c:pt>
                <c:pt idx="313">
                  <c:v>13600913.863109861</c:v>
                </c:pt>
                <c:pt idx="314">
                  <c:v>13705650.858001091</c:v>
                </c:pt>
                <c:pt idx="315">
                  <c:v>13822550.737418629</c:v>
                </c:pt>
                <c:pt idx="316">
                  <c:v>13936628.915700069</c:v>
                </c:pt>
                <c:pt idx="317">
                  <c:v>14055498.880841581</c:v>
                </c:pt>
                <c:pt idx="318">
                  <c:v>14171499.591392249</c:v>
                </c:pt>
                <c:pt idx="319">
                  <c:v>14292372.843641508</c:v>
                </c:pt>
                <c:pt idx="320">
                  <c:v>14414277.062516078</c:v>
                </c:pt>
                <c:pt idx="321">
                  <c:v>14533238.786713943</c:v>
                </c:pt>
                <c:pt idx="322">
                  <c:v>14657197.428249106</c:v>
                </c:pt>
                <c:pt idx="323">
                  <c:v>14778163.985948162</c:v>
                </c:pt>
                <c:pt idx="324">
                  <c:v>14904211.672837941</c:v>
                </c:pt>
                <c:pt idx="325">
                  <c:v>15031334.460760923</c:v>
                </c:pt>
                <c:pt idx="326">
                  <c:v>15151237.196869424</c:v>
                </c:pt>
                <c:pt idx="327">
                  <c:v>15280466.94448893</c:v>
                </c:pt>
                <c:pt idx="328">
                  <c:v>15406577.375583112</c:v>
                </c:pt>
                <c:pt idx="329">
                  <c:v>15537985.001248056</c:v>
                </c:pt>
                <c:pt idx="330">
                  <c:v>15666220.74129192</c:v>
                </c:pt>
                <c:pt idx="331">
                  <c:v>15799842.948260402</c:v>
                </c:pt>
                <c:pt idx="332">
                  <c:v>15934604.861766271</c:v>
                </c:pt>
                <c:pt idx="333">
                  <c:v>16066113.924658982</c:v>
                </c:pt>
                <c:pt idx="334">
                  <c:v>16203146.948479563</c:v>
                </c:pt>
                <c:pt idx="335">
                  <c:v>16336872.302173162</c:v>
                </c:pt>
                <c:pt idx="336">
                  <c:v>16476214.7107877</c:v>
                </c:pt>
                <c:pt idx="337">
                  <c:v>16616745.615368864</c:v>
                </c:pt>
                <c:pt idx="338">
                  <c:v>16744706.722846093</c:v>
                </c:pt>
                <c:pt idx="339">
                  <c:v>16887527.681665417</c:v>
                </c:pt>
                <c:pt idx="340">
                  <c:v>17026901.262576688</c:v>
                </c:pt>
                <c:pt idx="341">
                  <c:v>17172129.14887495</c:v>
                </c:pt>
                <c:pt idx="342">
                  <c:v>17313851.559429336</c:v>
                </c:pt>
                <c:pt idx="343">
                  <c:v>17461526.936579999</c:v>
                </c:pt>
                <c:pt idx="344">
                  <c:v>17610461.884250909</c:v>
                </c:pt>
                <c:pt idx="345">
                  <c:v>17755801.876023311</c:v>
                </c:pt>
                <c:pt idx="346">
                  <c:v>17907246.788765788</c:v>
                </c:pt>
                <c:pt idx="347">
                  <c:v>18055036.160677344</c:v>
                </c:pt>
                <c:pt idx="348">
                  <c:v>18209033.338332739</c:v>
                </c:pt>
                <c:pt idx="349">
                  <c:v>18364344.007166699</c:v>
                </c:pt>
                <c:pt idx="350">
                  <c:v>18505762.901795287</c:v>
                </c:pt>
                <c:pt idx="351">
                  <c:v>18663604.471974086</c:v>
                </c:pt>
                <c:pt idx="352">
                  <c:v>18817636.100345287</c:v>
                </c:pt>
                <c:pt idx="353">
                  <c:v>18978137.736775722</c:v>
                </c:pt>
                <c:pt idx="354">
                  <c:v>19134765.223360006</c:v>
                </c:pt>
                <c:pt idx="355">
                  <c:v>19297971.755502768</c:v>
                </c:pt>
                <c:pt idx="356">
                  <c:v>19462570.328353778</c:v>
                </c:pt>
                <c:pt idx="357">
                  <c:v>19623195.860493992</c:v>
                </c:pt>
                <c:pt idx="358">
                  <c:v>19790568.373747483</c:v>
                </c:pt>
                <c:pt idx="359">
                  <c:v>19953900.889584798</c:v>
                </c:pt>
                <c:pt idx="360">
                  <c:v>20124094.091795269</c:v>
                </c:pt>
                <c:pt idx="361">
                  <c:v>20295738.926257432</c:v>
                </c:pt>
                <c:pt idx="362">
                  <c:v>20452030.975867361</c:v>
                </c:pt>
                <c:pt idx="363">
                  <c:v>20626472.888892367</c:v>
                </c:pt>
                <c:pt idx="364">
                  <c:v>20796704.165032055</c:v>
                </c:pt>
                <c:pt idx="365">
                  <c:v>20974085.90591852</c:v>
                </c:pt>
                <c:pt idx="366">
                  <c:v>21147186.049062755</c:v>
                </c:pt>
                <c:pt idx="367">
                  <c:v>21327557.162026901</c:v>
                </c:pt>
                <c:pt idx="368">
                  <c:v>21509466.717898596</c:v>
                </c:pt>
                <c:pt idx="369">
                  <c:v>21686985.384720396</c:v>
                </c:pt>
                <c:pt idx="370">
                  <c:v>21871960.618853386</c:v>
                </c:pt>
                <c:pt idx="371">
                  <c:v>22052470.965332903</c:v>
                </c:pt>
                <c:pt idx="372">
                  <c:v>22240563.542870086</c:v>
                </c:pt>
                <c:pt idx="373">
                  <c:v>22430260.422155585</c:v>
                </c:pt>
                <c:pt idx="374">
                  <c:v>22609183.298448678</c:v>
                </c:pt>
                <c:pt idx="375">
                  <c:v>22802024.253519014</c:v>
                </c:pt>
                <c:pt idx="376">
                  <c:v>22990210.460058231</c:v>
                </c:pt>
                <c:pt idx="377">
                  <c:v>23186301.31764752</c:v>
                </c:pt>
                <c:pt idx="378">
                  <c:v>23377658.981341343</c:v>
                </c:pt>
                <c:pt idx="379">
                  <c:v>23577054.511279829</c:v>
                </c:pt>
              </c:numCache>
            </c:numRef>
          </c:val>
          <c:smooth val="0"/>
          <c:extLst>
            <c:ext xmlns:c16="http://schemas.microsoft.com/office/drawing/2014/chart" uri="{C3380CC4-5D6E-409C-BE32-E72D297353CC}">
              <c16:uniqueId val="{00000002-83AC-4FD4-A810-4BB0F3E2D6FF}"/>
            </c:ext>
          </c:extLst>
        </c:ser>
        <c:dLbls>
          <c:showLegendKey val="0"/>
          <c:showVal val="0"/>
          <c:showCatName val="0"/>
          <c:showSerName val="0"/>
          <c:showPercent val="0"/>
          <c:showBubbleSize val="0"/>
        </c:dLbls>
        <c:smooth val="0"/>
        <c:axId val="773933280"/>
        <c:axId val="773931968"/>
      </c:lineChart>
      <c:dateAx>
        <c:axId val="773933280"/>
        <c:scaling>
          <c:orientation val="minMax"/>
        </c:scaling>
        <c:delete val="0"/>
        <c:axPos val="b"/>
        <c:numFmt formatCode="d/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773931968"/>
        <c:crosses val="autoZero"/>
        <c:auto val="1"/>
        <c:lblOffset val="100"/>
        <c:baseTimeUnit val="months"/>
      </c:dateAx>
      <c:valAx>
        <c:axId val="773931968"/>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773933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legend>
    <c:plotVisOnly val="1"/>
    <c:dispBlanksAs val="gap"/>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500" b="1" i="0" u="none" strike="noStrike" kern="1200" spc="0" baseline="0">
                <a:solidFill>
                  <a:schemeClr val="tx1"/>
                </a:solidFill>
                <a:latin typeface="+mn-lt"/>
                <a:ea typeface="+mn-ea"/>
                <a:cs typeface="+mn-cs"/>
              </a:defRPr>
            </a:pPr>
            <a:r>
              <a:rPr lang="en-GB" sz="1500" b="1" dirty="0">
                <a:solidFill>
                  <a:schemeClr val="tx1"/>
                </a:solidFill>
              </a:rPr>
              <a:t>1 step: Define the scenario of interest rate changes</a:t>
            </a:r>
            <a:r>
              <a:rPr lang="ru-RU" sz="1500" b="1" baseline="30000" dirty="0">
                <a:solidFill>
                  <a:schemeClr val="tx1"/>
                </a:solidFill>
              </a:rPr>
              <a:t>1</a:t>
            </a:r>
            <a:endParaRPr lang="en-GB" sz="1500" b="1" baseline="30000" dirty="0">
              <a:solidFill>
                <a:schemeClr val="tx1"/>
              </a:solidFill>
            </a:endParaRPr>
          </a:p>
        </c:rich>
      </c:tx>
      <c:layout>
        <c:manualLayout>
          <c:xMode val="edge"/>
          <c:yMode val="edge"/>
          <c:x val="3.5124890638670164E-2"/>
          <c:y val="3.2407407407407406E-2"/>
        </c:manualLayout>
      </c:layout>
      <c:overlay val="0"/>
      <c:spPr>
        <a:noFill/>
        <a:ln>
          <a:noFill/>
        </a:ln>
        <a:effectLst/>
      </c:spPr>
      <c:txPr>
        <a:bodyPr rot="0" spcFirstLastPara="1" vertOverflow="ellipsis" vert="horz" wrap="square" anchor="ctr" anchorCtr="1"/>
        <a:lstStyle/>
        <a:p>
          <a:pPr algn="l">
            <a:defRPr sz="1500" b="1" i="0" u="none" strike="noStrike" kern="1200" spc="0" baseline="0">
              <a:solidFill>
                <a:schemeClr val="tx1"/>
              </a:solidFill>
              <a:latin typeface="+mn-lt"/>
              <a:ea typeface="+mn-ea"/>
              <a:cs typeface="+mn-cs"/>
            </a:defRPr>
          </a:pPr>
          <a:endParaRPr lang="en-NL"/>
        </a:p>
      </c:txPr>
    </c:title>
    <c:autoTitleDeleted val="0"/>
    <c:plotArea>
      <c:layout/>
      <c:lineChart>
        <c:grouping val="standard"/>
        <c:varyColors val="0"/>
        <c:ser>
          <c:idx val="0"/>
          <c:order val="0"/>
          <c:tx>
            <c:strRef>
              <c:f>'for slides'!$D$45</c:f>
              <c:strCache>
                <c:ptCount val="1"/>
                <c:pt idx="0">
                  <c:v>Current interest rates</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r slides'!$C$46:$C$54</c:f>
              <c:strCache>
                <c:ptCount val="9"/>
                <c:pt idx="0">
                  <c:v>up to 1m</c:v>
                </c:pt>
                <c:pt idx="1">
                  <c:v>1-3 m</c:v>
                </c:pt>
                <c:pt idx="2">
                  <c:v>3-6 m</c:v>
                </c:pt>
                <c:pt idx="3">
                  <c:v>6-9 m</c:v>
                </c:pt>
                <c:pt idx="4">
                  <c:v>9-12 m</c:v>
                </c:pt>
                <c:pt idx="5">
                  <c:v>1-3 y</c:v>
                </c:pt>
                <c:pt idx="6">
                  <c:v>3-5 y</c:v>
                </c:pt>
                <c:pt idx="7">
                  <c:v>5-7 y</c:v>
                </c:pt>
                <c:pt idx="8">
                  <c:v>7-10 y</c:v>
                </c:pt>
              </c:strCache>
            </c:strRef>
          </c:cat>
          <c:val>
            <c:numRef>
              <c:f>'for slides'!$D$46:$D$54</c:f>
              <c:numCache>
                <c:formatCode>0.00%</c:formatCode>
                <c:ptCount val="9"/>
                <c:pt idx="0">
                  <c:v>5.1999999999999998E-2</c:v>
                </c:pt>
                <c:pt idx="1">
                  <c:v>5.3499999999999999E-2</c:v>
                </c:pt>
                <c:pt idx="2">
                  <c:v>5.5E-2</c:v>
                </c:pt>
                <c:pt idx="3">
                  <c:v>5.5899999999999998E-2</c:v>
                </c:pt>
                <c:pt idx="4">
                  <c:v>5.6500000000000002E-2</c:v>
                </c:pt>
                <c:pt idx="5">
                  <c:v>5.8999999999999997E-2</c:v>
                </c:pt>
                <c:pt idx="6">
                  <c:v>6.1499999999999999E-2</c:v>
                </c:pt>
                <c:pt idx="7">
                  <c:v>6.4000000000000001E-2</c:v>
                </c:pt>
                <c:pt idx="8">
                  <c:v>6.9000000000000006E-2</c:v>
                </c:pt>
              </c:numCache>
            </c:numRef>
          </c:val>
          <c:smooth val="0"/>
          <c:extLst>
            <c:ext xmlns:c16="http://schemas.microsoft.com/office/drawing/2014/chart" uri="{C3380CC4-5D6E-409C-BE32-E72D297353CC}">
              <c16:uniqueId val="{00000000-17F2-4708-ABB5-A5AD6516B145}"/>
            </c:ext>
          </c:extLst>
        </c:ser>
        <c:ser>
          <c:idx val="1"/>
          <c:order val="1"/>
          <c:tx>
            <c:strRef>
              <c:f>'for slides'!$E$45</c:f>
              <c:strCache>
                <c:ptCount val="1"/>
                <c:pt idx="0">
                  <c:v>Projected interest rate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r slides'!$C$46:$C$54</c:f>
              <c:strCache>
                <c:ptCount val="9"/>
                <c:pt idx="0">
                  <c:v>up to 1m</c:v>
                </c:pt>
                <c:pt idx="1">
                  <c:v>1-3 m</c:v>
                </c:pt>
                <c:pt idx="2">
                  <c:v>3-6 m</c:v>
                </c:pt>
                <c:pt idx="3">
                  <c:v>6-9 m</c:v>
                </c:pt>
                <c:pt idx="4">
                  <c:v>9-12 m</c:v>
                </c:pt>
                <c:pt idx="5">
                  <c:v>1-3 y</c:v>
                </c:pt>
                <c:pt idx="6">
                  <c:v>3-5 y</c:v>
                </c:pt>
                <c:pt idx="7">
                  <c:v>5-7 y</c:v>
                </c:pt>
                <c:pt idx="8">
                  <c:v>7-10 y</c:v>
                </c:pt>
              </c:strCache>
            </c:strRef>
          </c:cat>
          <c:val>
            <c:numRef>
              <c:f>'for slides'!$E$46:$E$54</c:f>
              <c:numCache>
                <c:formatCode>0.00%</c:formatCode>
                <c:ptCount val="9"/>
                <c:pt idx="0">
                  <c:v>6.0299999999999999E-2</c:v>
                </c:pt>
                <c:pt idx="1">
                  <c:v>6.1100000000000002E-2</c:v>
                </c:pt>
                <c:pt idx="2">
                  <c:v>6.1900000000000004E-2</c:v>
                </c:pt>
                <c:pt idx="3">
                  <c:v>6.2100000000000002E-2</c:v>
                </c:pt>
                <c:pt idx="4">
                  <c:v>6.2E-2</c:v>
                </c:pt>
                <c:pt idx="5">
                  <c:v>6.3800000000000009E-2</c:v>
                </c:pt>
                <c:pt idx="6">
                  <c:v>6.5600000000000006E-2</c:v>
                </c:pt>
                <c:pt idx="7">
                  <c:v>6.7400000000000015E-2</c:v>
                </c:pt>
                <c:pt idx="8">
                  <c:v>7.1700000000000014E-2</c:v>
                </c:pt>
              </c:numCache>
            </c:numRef>
          </c:val>
          <c:smooth val="0"/>
          <c:extLst>
            <c:ext xmlns:c16="http://schemas.microsoft.com/office/drawing/2014/chart" uri="{C3380CC4-5D6E-409C-BE32-E72D297353CC}">
              <c16:uniqueId val="{00000001-17F2-4708-ABB5-A5AD6516B145}"/>
            </c:ext>
          </c:extLst>
        </c:ser>
        <c:dLbls>
          <c:dLblPos val="t"/>
          <c:showLegendKey val="0"/>
          <c:showVal val="1"/>
          <c:showCatName val="0"/>
          <c:showSerName val="0"/>
          <c:showPercent val="0"/>
          <c:showBubbleSize val="0"/>
        </c:dLbls>
        <c:marker val="1"/>
        <c:smooth val="0"/>
        <c:axId val="82719792"/>
        <c:axId val="82720208"/>
      </c:lineChart>
      <c:catAx>
        <c:axId val="82719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82720208"/>
        <c:crosses val="autoZero"/>
        <c:auto val="1"/>
        <c:lblAlgn val="ctr"/>
        <c:lblOffset val="100"/>
        <c:noMultiLvlLbl val="0"/>
      </c:catAx>
      <c:valAx>
        <c:axId val="82720208"/>
        <c:scaling>
          <c:orientation val="minMax"/>
        </c:scaling>
        <c:delete val="1"/>
        <c:axPos val="l"/>
        <c:numFmt formatCode="0.00%" sourceLinked="1"/>
        <c:majorTickMark val="none"/>
        <c:minorTickMark val="none"/>
        <c:tickLblPos val="nextTo"/>
        <c:crossAx val="82719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2060"/>
      </a:solidFill>
    </a:ln>
    <a:effectLst/>
  </c:spPr>
  <c:txPr>
    <a:bodyPr/>
    <a:lstStyle/>
    <a:p>
      <a:pPr>
        <a:defRPr sz="1200"/>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1" i="0" u="none" strike="noStrike" kern="1200" spc="0" baseline="0">
                <a:solidFill>
                  <a:schemeClr val="tx1"/>
                </a:solidFill>
                <a:latin typeface="+mn-lt"/>
                <a:ea typeface="+mn-ea"/>
                <a:cs typeface="+mn-cs"/>
              </a:defRPr>
            </a:pPr>
            <a:r>
              <a:rPr lang="en-GB" sz="1500" b="1" dirty="0">
                <a:solidFill>
                  <a:schemeClr val="tx1"/>
                </a:solidFill>
              </a:rPr>
              <a:t>2 step: Form schedule of repricing of assets and liabilities</a:t>
            </a:r>
          </a:p>
        </c:rich>
      </c:tx>
      <c:layout>
        <c:manualLayout>
          <c:xMode val="edge"/>
          <c:yMode val="edge"/>
          <c:x val="0.11649041723418474"/>
          <c:y val="6.0470066460398895E-2"/>
        </c:manualLayout>
      </c:layout>
      <c:overlay val="0"/>
      <c:spPr>
        <a:noFill/>
        <a:ln>
          <a:noFill/>
        </a:ln>
        <a:effectLst/>
      </c:spPr>
      <c:txPr>
        <a:bodyPr rot="0" spcFirstLastPara="1" vertOverflow="ellipsis" vert="horz" wrap="square" anchor="ctr" anchorCtr="1"/>
        <a:lstStyle/>
        <a:p>
          <a:pPr>
            <a:defRPr sz="1440" b="1" i="0" u="none" strike="noStrike" kern="1200" spc="0" baseline="0">
              <a:solidFill>
                <a:schemeClr val="tx1"/>
              </a:solidFill>
              <a:latin typeface="+mn-lt"/>
              <a:ea typeface="+mn-ea"/>
              <a:cs typeface="+mn-cs"/>
            </a:defRPr>
          </a:pPr>
          <a:endParaRPr lang="en-NL"/>
        </a:p>
      </c:txPr>
    </c:title>
    <c:autoTitleDeleted val="0"/>
    <c:plotArea>
      <c:layout/>
      <c:barChart>
        <c:barDir val="col"/>
        <c:grouping val="clustered"/>
        <c:varyColors val="0"/>
        <c:ser>
          <c:idx val="0"/>
          <c:order val="0"/>
          <c:tx>
            <c:strRef>
              <c:f>'for slides'!$D$58</c:f>
              <c:strCache>
                <c:ptCount val="1"/>
                <c:pt idx="0">
                  <c:v>Assets reprice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N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r slides'!$C$59:$C$70</c:f>
              <c:strCache>
                <c:ptCount val="12"/>
                <c:pt idx="0">
                  <c:v>1 m</c:v>
                </c:pt>
                <c:pt idx="1">
                  <c:v>2 m</c:v>
                </c:pt>
                <c:pt idx="2">
                  <c:v>3 m</c:v>
                </c:pt>
                <c:pt idx="3">
                  <c:v>4 m</c:v>
                </c:pt>
                <c:pt idx="4">
                  <c:v>5 m</c:v>
                </c:pt>
                <c:pt idx="5">
                  <c:v>6 m</c:v>
                </c:pt>
                <c:pt idx="6">
                  <c:v>7 m</c:v>
                </c:pt>
                <c:pt idx="7">
                  <c:v>8 m</c:v>
                </c:pt>
                <c:pt idx="8">
                  <c:v>9 m</c:v>
                </c:pt>
                <c:pt idx="9">
                  <c:v>10 m</c:v>
                </c:pt>
                <c:pt idx="10">
                  <c:v>11 m</c:v>
                </c:pt>
                <c:pt idx="11">
                  <c:v>12 m</c:v>
                </c:pt>
              </c:strCache>
            </c:strRef>
          </c:cat>
          <c:val>
            <c:numRef>
              <c:f>'for slides'!$D$59:$D$70</c:f>
              <c:numCache>
                <c:formatCode>_-* #,##0.0_-;\-* #,##0.0_-;_-* "-"??_-;_-@_-</c:formatCode>
                <c:ptCount val="12"/>
                <c:pt idx="0">
                  <c:v>162.89930086358669</c:v>
                </c:pt>
                <c:pt idx="1">
                  <c:v>10164.310542124382</c:v>
                </c:pt>
                <c:pt idx="2">
                  <c:v>165.73942390093629</c:v>
                </c:pt>
                <c:pt idx="3">
                  <c:v>167.18616669969799</c:v>
                </c:pt>
                <c:pt idx="4">
                  <c:v>168.65099378344422</c:v>
                </c:pt>
                <c:pt idx="5">
                  <c:v>170.13413120573725</c:v>
                </c:pt>
                <c:pt idx="6">
                  <c:v>171.63580784580898</c:v>
                </c:pt>
                <c:pt idx="7">
                  <c:v>173.15625544388158</c:v>
                </c:pt>
                <c:pt idx="8">
                  <c:v>174.69570863693011</c:v>
                </c:pt>
                <c:pt idx="9">
                  <c:v>176.25440499489173</c:v>
                </c:pt>
                <c:pt idx="10">
                  <c:v>177.83258505732789</c:v>
                </c:pt>
                <c:pt idx="11">
                  <c:v>179.43049237054447</c:v>
                </c:pt>
              </c:numCache>
            </c:numRef>
          </c:val>
          <c:extLst>
            <c:ext xmlns:c16="http://schemas.microsoft.com/office/drawing/2014/chart" uri="{C3380CC4-5D6E-409C-BE32-E72D297353CC}">
              <c16:uniqueId val="{00000000-EF41-47FF-8890-EAC0F56E70E0}"/>
            </c:ext>
          </c:extLst>
        </c:ser>
        <c:ser>
          <c:idx val="1"/>
          <c:order val="1"/>
          <c:tx>
            <c:strRef>
              <c:f>'for slides'!$E$58</c:f>
              <c:strCache>
                <c:ptCount val="1"/>
                <c:pt idx="0">
                  <c:v>Liabilities repriced</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EF41-47FF-8890-EAC0F56E70E0}"/>
                </c:ext>
              </c:extLst>
            </c:dLbl>
            <c:dLbl>
              <c:idx val="2"/>
              <c:delete val="1"/>
              <c:extLst>
                <c:ext xmlns:c15="http://schemas.microsoft.com/office/drawing/2012/chart" uri="{CE6537A1-D6FC-4f65-9D91-7224C49458BB}"/>
                <c:ext xmlns:c16="http://schemas.microsoft.com/office/drawing/2014/chart" uri="{C3380CC4-5D6E-409C-BE32-E72D297353CC}">
                  <c16:uniqueId val="{00000002-EF41-47FF-8890-EAC0F56E70E0}"/>
                </c:ext>
              </c:extLst>
            </c:dLbl>
            <c:dLbl>
              <c:idx val="3"/>
              <c:delete val="1"/>
              <c:extLst>
                <c:ext xmlns:c15="http://schemas.microsoft.com/office/drawing/2012/chart" uri="{CE6537A1-D6FC-4f65-9D91-7224C49458BB}"/>
                <c:ext xmlns:c16="http://schemas.microsoft.com/office/drawing/2014/chart" uri="{C3380CC4-5D6E-409C-BE32-E72D297353CC}">
                  <c16:uniqueId val="{00000003-EF41-47FF-8890-EAC0F56E70E0}"/>
                </c:ext>
              </c:extLst>
            </c:dLbl>
            <c:dLbl>
              <c:idx val="4"/>
              <c:delete val="1"/>
              <c:extLst>
                <c:ext xmlns:c15="http://schemas.microsoft.com/office/drawing/2012/chart" uri="{CE6537A1-D6FC-4f65-9D91-7224C49458BB}"/>
                <c:ext xmlns:c16="http://schemas.microsoft.com/office/drawing/2014/chart" uri="{C3380CC4-5D6E-409C-BE32-E72D297353CC}">
                  <c16:uniqueId val="{00000004-EF41-47FF-8890-EAC0F56E70E0}"/>
                </c:ext>
              </c:extLst>
            </c:dLbl>
            <c:dLbl>
              <c:idx val="5"/>
              <c:delete val="1"/>
              <c:extLst>
                <c:ext xmlns:c15="http://schemas.microsoft.com/office/drawing/2012/chart" uri="{CE6537A1-D6FC-4f65-9D91-7224C49458BB}"/>
                <c:ext xmlns:c16="http://schemas.microsoft.com/office/drawing/2014/chart" uri="{C3380CC4-5D6E-409C-BE32-E72D297353CC}">
                  <c16:uniqueId val="{00000005-EF41-47FF-8890-EAC0F56E70E0}"/>
                </c:ext>
              </c:extLst>
            </c:dLbl>
            <c:dLbl>
              <c:idx val="6"/>
              <c:delete val="1"/>
              <c:extLst>
                <c:ext xmlns:c15="http://schemas.microsoft.com/office/drawing/2012/chart" uri="{CE6537A1-D6FC-4f65-9D91-7224C49458BB}"/>
                <c:ext xmlns:c16="http://schemas.microsoft.com/office/drawing/2014/chart" uri="{C3380CC4-5D6E-409C-BE32-E72D297353CC}">
                  <c16:uniqueId val="{00000006-EF41-47FF-8890-EAC0F56E70E0}"/>
                </c:ext>
              </c:extLst>
            </c:dLbl>
            <c:dLbl>
              <c:idx val="7"/>
              <c:delete val="1"/>
              <c:extLst>
                <c:ext xmlns:c15="http://schemas.microsoft.com/office/drawing/2012/chart" uri="{CE6537A1-D6FC-4f65-9D91-7224C49458BB}"/>
                <c:ext xmlns:c16="http://schemas.microsoft.com/office/drawing/2014/chart" uri="{C3380CC4-5D6E-409C-BE32-E72D297353CC}">
                  <c16:uniqueId val="{00000007-EF41-47FF-8890-EAC0F56E70E0}"/>
                </c:ext>
              </c:extLst>
            </c:dLbl>
            <c:dLbl>
              <c:idx val="8"/>
              <c:delete val="1"/>
              <c:extLst>
                <c:ext xmlns:c15="http://schemas.microsoft.com/office/drawing/2012/chart" uri="{CE6537A1-D6FC-4f65-9D91-7224C49458BB}"/>
                <c:ext xmlns:c16="http://schemas.microsoft.com/office/drawing/2014/chart" uri="{C3380CC4-5D6E-409C-BE32-E72D297353CC}">
                  <c16:uniqueId val="{00000008-EF41-47FF-8890-EAC0F56E70E0}"/>
                </c:ext>
              </c:extLst>
            </c:dLbl>
            <c:dLbl>
              <c:idx val="9"/>
              <c:delete val="1"/>
              <c:extLst>
                <c:ext xmlns:c15="http://schemas.microsoft.com/office/drawing/2012/chart" uri="{CE6537A1-D6FC-4f65-9D91-7224C49458BB}"/>
                <c:ext xmlns:c16="http://schemas.microsoft.com/office/drawing/2014/chart" uri="{C3380CC4-5D6E-409C-BE32-E72D297353CC}">
                  <c16:uniqueId val="{00000009-EF41-47FF-8890-EAC0F56E70E0}"/>
                </c:ext>
              </c:extLst>
            </c:dLbl>
            <c:dLbl>
              <c:idx val="10"/>
              <c:delete val="1"/>
              <c:extLst>
                <c:ext xmlns:c15="http://schemas.microsoft.com/office/drawing/2012/chart" uri="{CE6537A1-D6FC-4f65-9D91-7224C49458BB}"/>
                <c:ext xmlns:c16="http://schemas.microsoft.com/office/drawing/2014/chart" uri="{C3380CC4-5D6E-409C-BE32-E72D297353CC}">
                  <c16:uniqueId val="{0000000A-EF41-47FF-8890-EAC0F56E70E0}"/>
                </c:ext>
              </c:extLst>
            </c:dLbl>
            <c:dLbl>
              <c:idx val="11"/>
              <c:delete val="1"/>
              <c:extLst>
                <c:ext xmlns:c15="http://schemas.microsoft.com/office/drawing/2012/chart" uri="{CE6537A1-D6FC-4f65-9D91-7224C49458BB}"/>
                <c:ext xmlns:c16="http://schemas.microsoft.com/office/drawing/2014/chart" uri="{C3380CC4-5D6E-409C-BE32-E72D297353CC}">
                  <c16:uniqueId val="{0000000B-EF41-47FF-8890-EAC0F56E70E0}"/>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N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r slides'!$C$59:$C$70</c:f>
              <c:strCache>
                <c:ptCount val="12"/>
                <c:pt idx="0">
                  <c:v>1 m</c:v>
                </c:pt>
                <c:pt idx="1">
                  <c:v>2 m</c:v>
                </c:pt>
                <c:pt idx="2">
                  <c:v>3 m</c:v>
                </c:pt>
                <c:pt idx="3">
                  <c:v>4 m</c:v>
                </c:pt>
                <c:pt idx="4">
                  <c:v>5 m</c:v>
                </c:pt>
                <c:pt idx="5">
                  <c:v>6 m</c:v>
                </c:pt>
                <c:pt idx="6">
                  <c:v>7 m</c:v>
                </c:pt>
                <c:pt idx="7">
                  <c:v>8 m</c:v>
                </c:pt>
                <c:pt idx="8">
                  <c:v>9 m</c:v>
                </c:pt>
                <c:pt idx="9">
                  <c:v>10 m</c:v>
                </c:pt>
                <c:pt idx="10">
                  <c:v>11 m</c:v>
                </c:pt>
                <c:pt idx="11">
                  <c:v>12 m</c:v>
                </c:pt>
              </c:strCache>
            </c:strRef>
          </c:cat>
          <c:val>
            <c:numRef>
              <c:f>'for slides'!$E$59:$E$70</c:f>
              <c:numCache>
                <c:formatCode>_-* #,##0.0_-;\-* #,##0.0_-;_-* "-"??_-;_-@_-</c:formatCode>
                <c:ptCount val="12"/>
                <c:pt idx="0">
                  <c:v>0</c:v>
                </c:pt>
                <c:pt idx="1">
                  <c:v>-15000</c:v>
                </c:pt>
                <c:pt idx="2">
                  <c:v>0</c:v>
                </c:pt>
                <c:pt idx="3">
                  <c:v>0</c:v>
                </c:pt>
                <c:pt idx="4">
                  <c:v>0</c:v>
                </c:pt>
                <c:pt idx="5">
                  <c:v>0</c:v>
                </c:pt>
                <c:pt idx="6">
                  <c:v>0</c:v>
                </c:pt>
                <c:pt idx="7">
                  <c:v>0</c:v>
                </c:pt>
                <c:pt idx="8">
                  <c:v>0</c:v>
                </c:pt>
                <c:pt idx="9">
                  <c:v>0</c:v>
                </c:pt>
                <c:pt idx="10">
                  <c:v>0</c:v>
                </c:pt>
                <c:pt idx="11">
                  <c:v>0</c:v>
                </c:pt>
              </c:numCache>
            </c:numRef>
          </c:val>
          <c:extLst>
            <c:ext xmlns:c16="http://schemas.microsoft.com/office/drawing/2014/chart" uri="{C3380CC4-5D6E-409C-BE32-E72D297353CC}">
              <c16:uniqueId val="{0000000C-EF41-47FF-8890-EAC0F56E70E0}"/>
            </c:ext>
          </c:extLst>
        </c:ser>
        <c:dLbls>
          <c:dLblPos val="inEnd"/>
          <c:showLegendKey val="0"/>
          <c:showVal val="1"/>
          <c:showCatName val="0"/>
          <c:showSerName val="0"/>
          <c:showPercent val="0"/>
          <c:showBubbleSize val="0"/>
        </c:dLbls>
        <c:gapWidth val="219"/>
        <c:overlap val="-27"/>
        <c:axId val="533729088"/>
        <c:axId val="533725760"/>
      </c:barChart>
      <c:catAx>
        <c:axId val="53372908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533725760"/>
        <c:crosses val="autoZero"/>
        <c:auto val="1"/>
        <c:lblAlgn val="ctr"/>
        <c:lblOffset val="100"/>
        <c:noMultiLvlLbl val="0"/>
      </c:catAx>
      <c:valAx>
        <c:axId val="533725760"/>
        <c:scaling>
          <c:orientation val="minMax"/>
        </c:scaling>
        <c:delete val="1"/>
        <c:axPos val="l"/>
        <c:numFmt formatCode="_-* #,##0.0_-;\-* #,##0.0_-;_-* &quot;-&quot;??_-;_-@_-" sourceLinked="1"/>
        <c:majorTickMark val="none"/>
        <c:minorTickMark val="none"/>
        <c:tickLblPos val="nextTo"/>
        <c:crossAx val="5337290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002060"/>
      </a:solidFill>
    </a:ln>
    <a:effectLst/>
  </c:spPr>
  <c:txPr>
    <a:bodyPr/>
    <a:lstStyle/>
    <a:p>
      <a:pPr>
        <a:defRPr sz="1200"/>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interest rate hedge'!$C$16</c:f>
              <c:strCache>
                <c:ptCount val="1"/>
                <c:pt idx="0">
                  <c:v>Interest rate gap</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rest rate hedge'!$D$6:$M$6</c:f>
              <c:strCache>
                <c:ptCount val="10"/>
                <c:pt idx="0">
                  <c:v>up to 1m</c:v>
                </c:pt>
                <c:pt idx="1">
                  <c:v>1-3 m</c:v>
                </c:pt>
                <c:pt idx="2">
                  <c:v>3-6 m</c:v>
                </c:pt>
                <c:pt idx="3">
                  <c:v>6-9 m</c:v>
                </c:pt>
                <c:pt idx="4">
                  <c:v>9-12 m</c:v>
                </c:pt>
                <c:pt idx="5">
                  <c:v>1-3 y</c:v>
                </c:pt>
                <c:pt idx="6">
                  <c:v>3-5 y</c:v>
                </c:pt>
                <c:pt idx="7">
                  <c:v>5-7 y</c:v>
                </c:pt>
                <c:pt idx="8">
                  <c:v>7-10 y</c:v>
                </c:pt>
                <c:pt idx="9">
                  <c:v>not sensitive</c:v>
                </c:pt>
              </c:strCache>
            </c:strRef>
          </c:cat>
          <c:val>
            <c:numRef>
              <c:f>'interest rate hedge'!$D$16:$M$16</c:f>
              <c:numCache>
                <c:formatCode>_-* #,##0.0_-;\-* #,##0.0_-;_-* "-"??_-;_-@_-</c:formatCode>
                <c:ptCount val="10"/>
                <c:pt idx="0">
                  <c:v>162.89930086358669</c:v>
                </c:pt>
                <c:pt idx="1">
                  <c:v>-4669.9500339746828</c:v>
                </c:pt>
                <c:pt idx="2">
                  <c:v>505.97129168887943</c:v>
                </c:pt>
                <c:pt idx="3">
                  <c:v>519.48777192662067</c:v>
                </c:pt>
                <c:pt idx="4">
                  <c:v>533.51748242276403</c:v>
                </c:pt>
                <c:pt idx="5">
                  <c:v>-158.41678407502059</c:v>
                </c:pt>
                <c:pt idx="6">
                  <c:v>6106.4909711477931</c:v>
                </c:pt>
                <c:pt idx="7">
                  <c:v>1200</c:v>
                </c:pt>
                <c:pt idx="8">
                  <c:v>1800</c:v>
                </c:pt>
                <c:pt idx="9">
                  <c:v>-6000</c:v>
                </c:pt>
              </c:numCache>
            </c:numRef>
          </c:val>
          <c:extLst>
            <c:ext xmlns:c16="http://schemas.microsoft.com/office/drawing/2014/chart" uri="{C3380CC4-5D6E-409C-BE32-E72D297353CC}">
              <c16:uniqueId val="{00000000-BC50-49F2-99D2-1942D3D8AF9B}"/>
            </c:ext>
          </c:extLst>
        </c:ser>
        <c:dLbls>
          <c:dLblPos val="outEnd"/>
          <c:showLegendKey val="0"/>
          <c:showVal val="1"/>
          <c:showCatName val="0"/>
          <c:showSerName val="0"/>
          <c:showPercent val="0"/>
          <c:showBubbleSize val="0"/>
        </c:dLbls>
        <c:gapWidth val="150"/>
        <c:axId val="794914976"/>
        <c:axId val="794896256"/>
      </c:barChart>
      <c:lineChart>
        <c:grouping val="standard"/>
        <c:varyColors val="0"/>
        <c:ser>
          <c:idx val="1"/>
          <c:order val="1"/>
          <c:tx>
            <c:strRef>
              <c:f>'interest rate hedge'!$C$17</c:f>
              <c:strCache>
                <c:ptCount val="1"/>
                <c:pt idx="0">
                  <c:v>Cumulutive interest rate gap</c:v>
                </c:pt>
              </c:strCache>
            </c:strRef>
          </c:tx>
          <c:spPr>
            <a:ln w="19050" cap="rnd">
              <a:solidFill>
                <a:schemeClr val="accent2"/>
              </a:solidFill>
              <a:round/>
            </a:ln>
            <a:effectLst/>
          </c:spPr>
          <c:marker>
            <c:symbol val="none"/>
          </c:marker>
          <c:dLbls>
            <c:delete val="1"/>
          </c:dLbls>
          <c:cat>
            <c:strRef>
              <c:f>'interest rate hedge'!$D$6:$M$6</c:f>
              <c:strCache>
                <c:ptCount val="10"/>
                <c:pt idx="0">
                  <c:v>up to 1m</c:v>
                </c:pt>
                <c:pt idx="1">
                  <c:v>1-3 m</c:v>
                </c:pt>
                <c:pt idx="2">
                  <c:v>3-6 m</c:v>
                </c:pt>
                <c:pt idx="3">
                  <c:v>6-9 m</c:v>
                </c:pt>
                <c:pt idx="4">
                  <c:v>9-12 m</c:v>
                </c:pt>
                <c:pt idx="5">
                  <c:v>1-3 y</c:v>
                </c:pt>
                <c:pt idx="6">
                  <c:v>3-5 y</c:v>
                </c:pt>
                <c:pt idx="7">
                  <c:v>5-7 y</c:v>
                </c:pt>
                <c:pt idx="8">
                  <c:v>7-10 y</c:v>
                </c:pt>
                <c:pt idx="9">
                  <c:v>not sensitive</c:v>
                </c:pt>
              </c:strCache>
            </c:strRef>
          </c:cat>
          <c:val>
            <c:numRef>
              <c:f>'interest rate hedge'!$D$17:$M$17</c:f>
              <c:numCache>
                <c:formatCode>_-* #,##0.0_-;\-* #,##0.0_-;_-* "-"??_-;_-@_-</c:formatCode>
                <c:ptCount val="10"/>
                <c:pt idx="0">
                  <c:v>162.89930086358669</c:v>
                </c:pt>
                <c:pt idx="1">
                  <c:v>-4507.0507331110957</c:v>
                </c:pt>
                <c:pt idx="2">
                  <c:v>-4001.0794414222164</c:v>
                </c:pt>
                <c:pt idx="3">
                  <c:v>-3481.5916694955959</c:v>
                </c:pt>
                <c:pt idx="4">
                  <c:v>-2948.0741870728316</c:v>
                </c:pt>
                <c:pt idx="5">
                  <c:v>-3106.4909711478522</c:v>
                </c:pt>
                <c:pt idx="6">
                  <c:v>2999.9999999999409</c:v>
                </c:pt>
                <c:pt idx="7">
                  <c:v>4199.9999999999409</c:v>
                </c:pt>
                <c:pt idx="8">
                  <c:v>5999.9999999999409</c:v>
                </c:pt>
                <c:pt idx="9">
                  <c:v>-5.9117155615240335E-11</c:v>
                </c:pt>
              </c:numCache>
            </c:numRef>
          </c:val>
          <c:smooth val="0"/>
          <c:extLst>
            <c:ext xmlns:c16="http://schemas.microsoft.com/office/drawing/2014/chart" uri="{C3380CC4-5D6E-409C-BE32-E72D297353CC}">
              <c16:uniqueId val="{00000001-BC50-49F2-99D2-1942D3D8AF9B}"/>
            </c:ext>
          </c:extLst>
        </c:ser>
        <c:dLbls>
          <c:showLegendKey val="0"/>
          <c:showVal val="1"/>
          <c:showCatName val="0"/>
          <c:showSerName val="0"/>
          <c:showPercent val="0"/>
          <c:showBubbleSize val="0"/>
        </c:dLbls>
        <c:marker val="1"/>
        <c:smooth val="0"/>
        <c:axId val="794914976"/>
        <c:axId val="794896256"/>
      </c:lineChart>
      <c:catAx>
        <c:axId val="794914976"/>
        <c:scaling>
          <c:orientation val="minMax"/>
        </c:scaling>
        <c:delete val="0"/>
        <c:axPos val="b"/>
        <c:numFmt formatCode="General"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794896256"/>
        <c:crosses val="autoZero"/>
        <c:auto val="1"/>
        <c:lblAlgn val="ctr"/>
        <c:lblOffset val="100"/>
        <c:noMultiLvlLbl val="0"/>
      </c:catAx>
      <c:valAx>
        <c:axId val="794896256"/>
        <c:scaling>
          <c:orientation val="minMax"/>
        </c:scaling>
        <c:delete val="1"/>
        <c:axPos val="l"/>
        <c:majorGridlines>
          <c:spPr>
            <a:ln w="9525" cap="flat" cmpd="sng" algn="ctr">
              <a:solidFill>
                <a:schemeClr val="tx1">
                  <a:lumMod val="15000"/>
                  <a:lumOff val="85000"/>
                </a:schemeClr>
              </a:solidFill>
              <a:round/>
            </a:ln>
            <a:effectLst/>
          </c:spPr>
        </c:majorGridlines>
        <c:numFmt formatCode="_-* #,##0.0_-;\-* #,##0.0_-;_-* &quot;-&quot;??_-;_-@_-" sourceLinked="1"/>
        <c:majorTickMark val="none"/>
        <c:minorTickMark val="none"/>
        <c:tickLblPos val="nextTo"/>
        <c:crossAx val="794914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34705621956618E-2"/>
          <c:y val="4.6296296296296294E-2"/>
          <c:w val="0.95130588756086765"/>
          <c:h val="0.67978435893893829"/>
        </c:manualLayout>
      </c:layout>
      <c:barChart>
        <c:barDir val="col"/>
        <c:grouping val="clustered"/>
        <c:varyColors val="0"/>
        <c:ser>
          <c:idx val="0"/>
          <c:order val="0"/>
          <c:tx>
            <c:strRef>
              <c:f>'interest rate hedge'!$C$62</c:f>
              <c:strCache>
                <c:ptCount val="1"/>
                <c:pt idx="0">
                  <c:v>Interest rate gap</c:v>
                </c:pt>
              </c:strCache>
            </c:strRef>
          </c:tx>
          <c:spPr>
            <a:solidFill>
              <a:schemeClr val="accent1"/>
            </a:solidFill>
            <a:ln>
              <a:noFill/>
            </a:ln>
            <a:effectLst/>
          </c:spPr>
          <c:invertIfNegative val="0"/>
          <c:dLbls>
            <c:dLbl>
              <c:idx val="1"/>
              <c:layout>
                <c:manualLayout>
                  <c:x val="0"/>
                  <c:y val="-5.555555555555555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E84-492B-AF31-F1CBA4741E64}"/>
                </c:ext>
              </c:extLst>
            </c:dLbl>
            <c:dLbl>
              <c:idx val="5"/>
              <c:layout>
                <c:manualLayout>
                  <c:x val="-2.2133687472333701E-3"/>
                  <c:y val="-4.62959317585300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E84-492B-AF31-F1CBA4741E6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rest rate hedge'!$D$6:$M$6</c:f>
              <c:strCache>
                <c:ptCount val="10"/>
                <c:pt idx="0">
                  <c:v>up to 1m</c:v>
                </c:pt>
                <c:pt idx="1">
                  <c:v>1-3 m</c:v>
                </c:pt>
                <c:pt idx="2">
                  <c:v>3-6 m</c:v>
                </c:pt>
                <c:pt idx="3">
                  <c:v>6-9 m</c:v>
                </c:pt>
                <c:pt idx="4">
                  <c:v>9-12 m</c:v>
                </c:pt>
                <c:pt idx="5">
                  <c:v>1-3 y</c:v>
                </c:pt>
                <c:pt idx="6">
                  <c:v>3-5 y</c:v>
                </c:pt>
                <c:pt idx="7">
                  <c:v>5-7 y</c:v>
                </c:pt>
                <c:pt idx="8">
                  <c:v>7-10 y</c:v>
                </c:pt>
                <c:pt idx="9">
                  <c:v>not sensitive</c:v>
                </c:pt>
              </c:strCache>
            </c:strRef>
          </c:cat>
          <c:val>
            <c:numRef>
              <c:f>'interest rate hedge'!$D$62:$M$62</c:f>
              <c:numCache>
                <c:formatCode>_-* #,##0.0_-;\-* #,##0.0_-;_-* "-"??_-;_-@_-</c:formatCode>
                <c:ptCount val="10"/>
                <c:pt idx="0">
                  <c:v>162.89930086358669</c:v>
                </c:pt>
                <c:pt idx="1">
                  <c:v>-669.95003397468281</c:v>
                </c:pt>
                <c:pt idx="2">
                  <c:v>505.97129168887943</c:v>
                </c:pt>
                <c:pt idx="3">
                  <c:v>519.48777192662067</c:v>
                </c:pt>
                <c:pt idx="4">
                  <c:v>533.51748242276403</c:v>
                </c:pt>
                <c:pt idx="5">
                  <c:v>-158.41678407502059</c:v>
                </c:pt>
                <c:pt idx="6">
                  <c:v>2106.4909711477931</c:v>
                </c:pt>
                <c:pt idx="7">
                  <c:v>1200</c:v>
                </c:pt>
                <c:pt idx="8">
                  <c:v>1800</c:v>
                </c:pt>
                <c:pt idx="9">
                  <c:v>-6000</c:v>
                </c:pt>
              </c:numCache>
            </c:numRef>
          </c:val>
          <c:extLst>
            <c:ext xmlns:c16="http://schemas.microsoft.com/office/drawing/2014/chart" uri="{C3380CC4-5D6E-409C-BE32-E72D297353CC}">
              <c16:uniqueId val="{00000002-EE84-492B-AF31-F1CBA4741E64}"/>
            </c:ext>
          </c:extLst>
        </c:ser>
        <c:dLbls>
          <c:dLblPos val="outEnd"/>
          <c:showLegendKey val="0"/>
          <c:showVal val="1"/>
          <c:showCatName val="0"/>
          <c:showSerName val="0"/>
          <c:showPercent val="0"/>
          <c:showBubbleSize val="0"/>
        </c:dLbls>
        <c:gapWidth val="150"/>
        <c:axId val="794914976"/>
        <c:axId val="794896256"/>
      </c:barChart>
      <c:lineChart>
        <c:grouping val="standard"/>
        <c:varyColors val="0"/>
        <c:ser>
          <c:idx val="1"/>
          <c:order val="1"/>
          <c:tx>
            <c:strRef>
              <c:f>'interest rate hedge'!$C$63</c:f>
              <c:strCache>
                <c:ptCount val="1"/>
                <c:pt idx="0">
                  <c:v>Cumulutive interest rate gap</c:v>
                </c:pt>
              </c:strCache>
            </c:strRef>
          </c:tx>
          <c:spPr>
            <a:ln w="19050" cap="rnd">
              <a:solidFill>
                <a:schemeClr val="accent2"/>
              </a:solidFill>
              <a:round/>
            </a:ln>
            <a:effectLst/>
          </c:spPr>
          <c:marker>
            <c:symbol val="none"/>
          </c:marker>
          <c:dLbls>
            <c:delete val="1"/>
          </c:dLbls>
          <c:cat>
            <c:strRef>
              <c:f>'interest rate hedge'!$D$6:$M$6</c:f>
              <c:strCache>
                <c:ptCount val="10"/>
                <c:pt idx="0">
                  <c:v>up to 1m</c:v>
                </c:pt>
                <c:pt idx="1">
                  <c:v>1-3 m</c:v>
                </c:pt>
                <c:pt idx="2">
                  <c:v>3-6 m</c:v>
                </c:pt>
                <c:pt idx="3">
                  <c:v>6-9 m</c:v>
                </c:pt>
                <c:pt idx="4">
                  <c:v>9-12 m</c:v>
                </c:pt>
                <c:pt idx="5">
                  <c:v>1-3 y</c:v>
                </c:pt>
                <c:pt idx="6">
                  <c:v>3-5 y</c:v>
                </c:pt>
                <c:pt idx="7">
                  <c:v>5-7 y</c:v>
                </c:pt>
                <c:pt idx="8">
                  <c:v>7-10 y</c:v>
                </c:pt>
                <c:pt idx="9">
                  <c:v>not sensitive</c:v>
                </c:pt>
              </c:strCache>
            </c:strRef>
          </c:cat>
          <c:val>
            <c:numRef>
              <c:f>'interest rate hedge'!$D$63:$M$63</c:f>
              <c:numCache>
                <c:formatCode>_-* #,##0.0_-;\-* #,##0.0_-;_-* "-"??_-;_-@_-</c:formatCode>
                <c:ptCount val="10"/>
                <c:pt idx="0">
                  <c:v>162.89930086358669</c:v>
                </c:pt>
                <c:pt idx="1">
                  <c:v>-507.05073311109612</c:v>
                </c:pt>
                <c:pt idx="2">
                  <c:v>-1.0794414222166893</c:v>
                </c:pt>
                <c:pt idx="3">
                  <c:v>518.40833050440392</c:v>
                </c:pt>
                <c:pt idx="4">
                  <c:v>1051.925812927168</c:v>
                </c:pt>
                <c:pt idx="5">
                  <c:v>893.50902885214737</c:v>
                </c:pt>
                <c:pt idx="6">
                  <c:v>2999.9999999999404</c:v>
                </c:pt>
                <c:pt idx="7">
                  <c:v>4199.99999999994</c:v>
                </c:pt>
                <c:pt idx="8">
                  <c:v>5999.99999999994</c:v>
                </c:pt>
                <c:pt idx="9">
                  <c:v>-6.0026650317013264E-11</c:v>
                </c:pt>
              </c:numCache>
            </c:numRef>
          </c:val>
          <c:smooth val="0"/>
          <c:extLst>
            <c:ext xmlns:c16="http://schemas.microsoft.com/office/drawing/2014/chart" uri="{C3380CC4-5D6E-409C-BE32-E72D297353CC}">
              <c16:uniqueId val="{00000003-EE84-492B-AF31-F1CBA4741E64}"/>
            </c:ext>
          </c:extLst>
        </c:ser>
        <c:dLbls>
          <c:showLegendKey val="0"/>
          <c:showVal val="1"/>
          <c:showCatName val="0"/>
          <c:showSerName val="0"/>
          <c:showPercent val="0"/>
          <c:showBubbleSize val="0"/>
        </c:dLbls>
        <c:marker val="1"/>
        <c:smooth val="0"/>
        <c:axId val="794914976"/>
        <c:axId val="794896256"/>
      </c:lineChart>
      <c:catAx>
        <c:axId val="794914976"/>
        <c:scaling>
          <c:orientation val="minMax"/>
        </c:scaling>
        <c:delete val="0"/>
        <c:axPos val="b"/>
        <c:numFmt formatCode="General"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b"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794896256"/>
        <c:crosses val="autoZero"/>
        <c:auto val="1"/>
        <c:lblAlgn val="ctr"/>
        <c:lblOffset val="100"/>
        <c:noMultiLvlLbl val="0"/>
      </c:catAx>
      <c:valAx>
        <c:axId val="794896256"/>
        <c:scaling>
          <c:orientation val="minMax"/>
        </c:scaling>
        <c:delete val="1"/>
        <c:axPos val="l"/>
        <c:majorGridlines>
          <c:spPr>
            <a:ln w="9525" cap="flat" cmpd="sng" algn="ctr">
              <a:solidFill>
                <a:schemeClr val="tx1">
                  <a:lumMod val="15000"/>
                  <a:lumOff val="85000"/>
                </a:schemeClr>
              </a:solidFill>
              <a:round/>
            </a:ln>
            <a:effectLst/>
          </c:spPr>
        </c:majorGridlines>
        <c:numFmt formatCode="_-* #,##0.0_-;\-* #,##0.0_-;_-* &quot;-&quot;??_-;_-@_-" sourceLinked="1"/>
        <c:majorTickMark val="none"/>
        <c:minorTickMark val="none"/>
        <c:tickLblPos val="nextTo"/>
        <c:crossAx val="794914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601259660081933E-3"/>
          <c:y val="4.4620253108299979E-2"/>
          <c:w val="0.96932531839254565"/>
          <c:h val="0.83805590662913099"/>
        </c:manualLayout>
      </c:layout>
      <c:lineChart>
        <c:grouping val="standard"/>
        <c:varyColors val="0"/>
        <c:ser>
          <c:idx val="0"/>
          <c:order val="0"/>
          <c:tx>
            <c:strRef>
              <c:f>'for slides'!$D$105</c:f>
              <c:strCache>
                <c:ptCount val="1"/>
                <c:pt idx="0">
                  <c:v>FTP rates</c:v>
                </c:pt>
              </c:strCache>
            </c:strRef>
          </c:tx>
          <c:spPr>
            <a:ln w="28575" cap="rnd">
              <a:solidFill>
                <a:srgbClr val="7030A0"/>
              </a:solidFill>
              <a:round/>
            </a:ln>
            <a:effectLst/>
          </c:spPr>
          <c:marker>
            <c:symbol val="circle"/>
            <c:size val="5"/>
            <c:spPr>
              <a:solidFill>
                <a:srgbClr val="7030A0"/>
              </a:solidFill>
              <a:ln w="9525">
                <a:solidFill>
                  <a:srgbClr val="7030A0"/>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8C86-4531-948A-674FC03AA234}"/>
                </c:ext>
              </c:extLst>
            </c:dLbl>
            <c:dLbl>
              <c:idx val="2"/>
              <c:delete val="1"/>
              <c:extLst>
                <c:ext xmlns:c15="http://schemas.microsoft.com/office/drawing/2012/chart" uri="{CE6537A1-D6FC-4f65-9D91-7224C49458BB}"/>
                <c:ext xmlns:c16="http://schemas.microsoft.com/office/drawing/2014/chart" uri="{C3380CC4-5D6E-409C-BE32-E72D297353CC}">
                  <c16:uniqueId val="{00000001-8C86-4531-948A-674FC03AA234}"/>
                </c:ext>
              </c:extLst>
            </c:dLbl>
            <c:dLbl>
              <c:idx val="3"/>
              <c:delete val="1"/>
              <c:extLst>
                <c:ext xmlns:c15="http://schemas.microsoft.com/office/drawing/2012/chart" uri="{CE6537A1-D6FC-4f65-9D91-7224C49458BB}"/>
                <c:ext xmlns:c16="http://schemas.microsoft.com/office/drawing/2014/chart" uri="{C3380CC4-5D6E-409C-BE32-E72D297353CC}">
                  <c16:uniqueId val="{00000002-8C86-4531-948A-674FC03AA234}"/>
                </c:ext>
              </c:extLst>
            </c:dLbl>
            <c:dLbl>
              <c:idx val="4"/>
              <c:layout>
                <c:manualLayout>
                  <c:x val="-8.2898381937992177E-2"/>
                  <c:y val="-1.59168211653989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86-4531-948A-674FC03AA234}"/>
                </c:ext>
              </c:extLst>
            </c:dLbl>
            <c:dLbl>
              <c:idx val="5"/>
              <c:delete val="1"/>
              <c:extLst>
                <c:ext xmlns:c15="http://schemas.microsoft.com/office/drawing/2012/chart" uri="{CE6537A1-D6FC-4f65-9D91-7224C49458BB}"/>
                <c:ext xmlns:c16="http://schemas.microsoft.com/office/drawing/2014/chart" uri="{C3380CC4-5D6E-409C-BE32-E72D297353CC}">
                  <c16:uniqueId val="{00000004-8C86-4531-948A-674FC03AA234}"/>
                </c:ext>
              </c:extLst>
            </c:dLbl>
            <c:dLbl>
              <c:idx val="6"/>
              <c:delete val="1"/>
              <c:extLst>
                <c:ext xmlns:c15="http://schemas.microsoft.com/office/drawing/2012/chart" uri="{CE6537A1-D6FC-4f65-9D91-7224C49458BB}"/>
                <c:ext xmlns:c16="http://schemas.microsoft.com/office/drawing/2014/chart" uri="{C3380CC4-5D6E-409C-BE32-E72D297353CC}">
                  <c16:uniqueId val="{00000005-8C86-4531-948A-674FC03AA234}"/>
                </c:ext>
              </c:extLst>
            </c:dLbl>
            <c:dLbl>
              <c:idx val="7"/>
              <c:delete val="1"/>
              <c:extLst>
                <c:ext xmlns:c15="http://schemas.microsoft.com/office/drawing/2012/chart" uri="{CE6537A1-D6FC-4f65-9D91-7224C49458BB}"/>
                <c:ext xmlns:c16="http://schemas.microsoft.com/office/drawing/2014/chart" uri="{C3380CC4-5D6E-409C-BE32-E72D297353CC}">
                  <c16:uniqueId val="{00000006-8C86-4531-948A-674FC03AA234}"/>
                </c:ext>
              </c:extLst>
            </c:dLbl>
            <c:dLbl>
              <c:idx val="8"/>
              <c:delete val="1"/>
              <c:extLst>
                <c:ext xmlns:c15="http://schemas.microsoft.com/office/drawing/2012/chart" uri="{CE6537A1-D6FC-4f65-9D91-7224C49458BB}"/>
                <c:ext xmlns:c16="http://schemas.microsoft.com/office/drawing/2014/chart" uri="{C3380CC4-5D6E-409C-BE32-E72D297353CC}">
                  <c16:uniqueId val="{0000000B-8C86-4531-948A-674FC03AA234}"/>
                </c:ext>
              </c:extLst>
            </c:dLbl>
            <c:spPr>
              <a:noFill/>
              <a:ln>
                <a:noFill/>
              </a:ln>
              <a:effectLst/>
            </c:spPr>
            <c:txPr>
              <a:bodyPr rot="0" spcFirstLastPara="1" vertOverflow="ellipsis" vert="horz" wrap="square" anchor="ctr" anchorCtr="1"/>
              <a:lstStyle/>
              <a:p>
                <a:pPr>
                  <a:defRPr sz="1400" b="0" i="0" u="none" strike="noStrike" kern="1200" baseline="0">
                    <a:solidFill>
                      <a:srgbClr val="7030A0"/>
                    </a:solidFill>
                    <a:latin typeface="Arial" panose="020B0604020202020204" pitchFamily="34" charset="0"/>
                    <a:ea typeface="+mn-ea"/>
                    <a:cs typeface="Arial" panose="020B0604020202020204" pitchFamily="34" charset="0"/>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r slides'!$C$106:$C$114</c:f>
              <c:strCache>
                <c:ptCount val="9"/>
                <c:pt idx="0">
                  <c:v>up to 1m</c:v>
                </c:pt>
                <c:pt idx="1">
                  <c:v>1-3 m</c:v>
                </c:pt>
                <c:pt idx="2">
                  <c:v>3-6 m</c:v>
                </c:pt>
                <c:pt idx="3">
                  <c:v>6-9 m</c:v>
                </c:pt>
                <c:pt idx="4">
                  <c:v>9-12 m</c:v>
                </c:pt>
                <c:pt idx="5">
                  <c:v>1-3 y</c:v>
                </c:pt>
                <c:pt idx="6">
                  <c:v>3-5 y</c:v>
                </c:pt>
                <c:pt idx="7">
                  <c:v>5-7 y</c:v>
                </c:pt>
                <c:pt idx="8">
                  <c:v>7-10 y</c:v>
                </c:pt>
              </c:strCache>
            </c:strRef>
          </c:cat>
          <c:val>
            <c:numRef>
              <c:f>'for slides'!$D$106:$D$114</c:f>
              <c:numCache>
                <c:formatCode>0.0%</c:formatCode>
                <c:ptCount val="9"/>
                <c:pt idx="0">
                  <c:v>5.1999999999999998E-2</c:v>
                </c:pt>
                <c:pt idx="1">
                  <c:v>5.5E-2</c:v>
                </c:pt>
                <c:pt idx="2">
                  <c:v>5.8999999999999997E-2</c:v>
                </c:pt>
                <c:pt idx="3">
                  <c:v>6.3E-2</c:v>
                </c:pt>
                <c:pt idx="4">
                  <c:v>6.9000000000000006E-2</c:v>
                </c:pt>
                <c:pt idx="5">
                  <c:v>7.5999999999999998E-2</c:v>
                </c:pt>
                <c:pt idx="6">
                  <c:v>8.5000000000000006E-2</c:v>
                </c:pt>
                <c:pt idx="7">
                  <c:v>9.0999999999999998E-2</c:v>
                </c:pt>
                <c:pt idx="8">
                  <c:v>0.1</c:v>
                </c:pt>
              </c:numCache>
            </c:numRef>
          </c:val>
          <c:smooth val="0"/>
          <c:extLst>
            <c:ext xmlns:c16="http://schemas.microsoft.com/office/drawing/2014/chart" uri="{C3380CC4-5D6E-409C-BE32-E72D297353CC}">
              <c16:uniqueId val="{00000007-8C86-4531-948A-674FC03AA234}"/>
            </c:ext>
          </c:extLst>
        </c:ser>
        <c:ser>
          <c:idx val="1"/>
          <c:order val="1"/>
          <c:tx>
            <c:strRef>
              <c:f>'for slides'!$E$105</c:f>
              <c:strCache>
                <c:ptCount val="1"/>
                <c:pt idx="0">
                  <c:v>Deposit contract rat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8C86-4531-948A-674FC03AA234}"/>
                </c:ext>
              </c:extLst>
            </c:dLbl>
            <c:spPr>
              <a:noFill/>
              <a:ln>
                <a:noFill/>
              </a:ln>
              <a:effectLst/>
            </c:spPr>
            <c:txPr>
              <a:bodyPr rot="0" spcFirstLastPara="1" vertOverflow="ellipsis" vert="horz" wrap="square" anchor="ctr" anchorCtr="1"/>
              <a:lstStyle/>
              <a:p>
                <a:pPr>
                  <a:defRPr sz="1400" b="0" i="0" u="none" strike="noStrike" kern="1200" baseline="0">
                    <a:solidFill>
                      <a:schemeClr val="accent2">
                        <a:lumMod val="75000"/>
                      </a:schemeClr>
                    </a:solidFill>
                    <a:latin typeface="Arial" panose="020B0604020202020204" pitchFamily="34" charset="0"/>
                    <a:ea typeface="+mn-ea"/>
                    <a:cs typeface="Arial" panose="020B0604020202020204" pitchFamily="34" charset="0"/>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r slides'!$C$106:$C$114</c:f>
              <c:strCache>
                <c:ptCount val="9"/>
                <c:pt idx="0">
                  <c:v>up to 1m</c:v>
                </c:pt>
                <c:pt idx="1">
                  <c:v>1-3 m</c:v>
                </c:pt>
                <c:pt idx="2">
                  <c:v>3-6 m</c:v>
                </c:pt>
                <c:pt idx="3">
                  <c:v>6-9 m</c:v>
                </c:pt>
                <c:pt idx="4">
                  <c:v>9-12 m</c:v>
                </c:pt>
                <c:pt idx="5">
                  <c:v>1-3 y</c:v>
                </c:pt>
                <c:pt idx="6">
                  <c:v>3-5 y</c:v>
                </c:pt>
                <c:pt idx="7">
                  <c:v>5-7 y</c:v>
                </c:pt>
                <c:pt idx="8">
                  <c:v>7-10 y</c:v>
                </c:pt>
              </c:strCache>
            </c:strRef>
          </c:cat>
          <c:val>
            <c:numRef>
              <c:f>'for slides'!$E$106:$E$114</c:f>
              <c:numCache>
                <c:formatCode>General</c:formatCode>
                <c:ptCount val="9"/>
                <c:pt idx="0" formatCode="0%">
                  <c:v>0.03</c:v>
                </c:pt>
              </c:numCache>
            </c:numRef>
          </c:val>
          <c:smooth val="0"/>
          <c:extLst>
            <c:ext xmlns:c16="http://schemas.microsoft.com/office/drawing/2014/chart" uri="{C3380CC4-5D6E-409C-BE32-E72D297353CC}">
              <c16:uniqueId val="{00000008-8C86-4531-948A-674FC03AA234}"/>
            </c:ext>
          </c:extLst>
        </c:ser>
        <c:ser>
          <c:idx val="2"/>
          <c:order val="2"/>
          <c:tx>
            <c:strRef>
              <c:f>'for slides'!$F$105</c:f>
              <c:strCache>
                <c:ptCount val="1"/>
                <c:pt idx="0">
                  <c:v>Loan contract rate</c:v>
                </c:pt>
              </c:strCache>
            </c:strRef>
          </c:tx>
          <c:spPr>
            <a:ln w="28575" cap="rnd">
              <a:solidFill>
                <a:srgbClr val="00B050"/>
              </a:solidFill>
              <a:round/>
            </a:ln>
            <a:effectLst/>
          </c:spPr>
          <c:marker>
            <c:symbol val="circle"/>
            <c:size val="5"/>
            <c:spPr>
              <a:solidFill>
                <a:srgbClr val="00B050"/>
              </a:solidFill>
              <a:ln w="9525">
                <a:solidFill>
                  <a:srgbClr val="00B05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rgbClr val="00B050"/>
                    </a:solidFill>
                    <a:latin typeface="Arial" panose="020B0604020202020204" pitchFamily="34" charset="0"/>
                    <a:ea typeface="+mn-ea"/>
                    <a:cs typeface="Arial" panose="020B0604020202020204" pitchFamily="34" charset="0"/>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r slides'!$C$106:$C$114</c:f>
              <c:strCache>
                <c:ptCount val="9"/>
                <c:pt idx="0">
                  <c:v>up to 1m</c:v>
                </c:pt>
                <c:pt idx="1">
                  <c:v>1-3 m</c:v>
                </c:pt>
                <c:pt idx="2">
                  <c:v>3-6 m</c:v>
                </c:pt>
                <c:pt idx="3">
                  <c:v>6-9 m</c:v>
                </c:pt>
                <c:pt idx="4">
                  <c:v>9-12 m</c:v>
                </c:pt>
                <c:pt idx="5">
                  <c:v>1-3 y</c:v>
                </c:pt>
                <c:pt idx="6">
                  <c:v>3-5 y</c:v>
                </c:pt>
                <c:pt idx="7">
                  <c:v>5-7 y</c:v>
                </c:pt>
                <c:pt idx="8">
                  <c:v>7-10 y</c:v>
                </c:pt>
              </c:strCache>
            </c:strRef>
          </c:cat>
          <c:val>
            <c:numRef>
              <c:f>'for slides'!$F$106:$F$114</c:f>
              <c:numCache>
                <c:formatCode>General</c:formatCode>
                <c:ptCount val="9"/>
                <c:pt idx="4" formatCode="0%">
                  <c:v>0.09</c:v>
                </c:pt>
              </c:numCache>
            </c:numRef>
          </c:val>
          <c:smooth val="0"/>
          <c:extLst>
            <c:ext xmlns:c16="http://schemas.microsoft.com/office/drawing/2014/chart" uri="{C3380CC4-5D6E-409C-BE32-E72D297353CC}">
              <c16:uniqueId val="{00000009-8C86-4531-948A-674FC03AA234}"/>
            </c:ext>
          </c:extLst>
        </c:ser>
        <c:dLbls>
          <c:dLblPos val="t"/>
          <c:showLegendKey val="0"/>
          <c:showVal val="1"/>
          <c:showCatName val="0"/>
          <c:showSerName val="0"/>
          <c:showPercent val="0"/>
          <c:showBubbleSize val="0"/>
        </c:dLbls>
        <c:marker val="1"/>
        <c:smooth val="0"/>
        <c:axId val="1249685759"/>
        <c:axId val="1249686175"/>
      </c:lineChart>
      <c:catAx>
        <c:axId val="1249685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NL"/>
          </a:p>
        </c:txPr>
        <c:crossAx val="1249686175"/>
        <c:crosses val="autoZero"/>
        <c:auto val="1"/>
        <c:lblAlgn val="ctr"/>
        <c:lblOffset val="100"/>
        <c:noMultiLvlLbl val="0"/>
      </c:catAx>
      <c:valAx>
        <c:axId val="1249686175"/>
        <c:scaling>
          <c:orientation val="minMax"/>
        </c:scaling>
        <c:delete val="1"/>
        <c:axPos val="l"/>
        <c:numFmt formatCode="0.0%" sourceLinked="1"/>
        <c:majorTickMark val="none"/>
        <c:minorTickMark val="none"/>
        <c:tickLblPos val="nextTo"/>
        <c:crossAx val="1249685759"/>
        <c:crosses val="autoZero"/>
        <c:crossBetween val="between"/>
      </c:valAx>
      <c:spPr>
        <a:noFill/>
        <a:ln>
          <a:noFill/>
        </a:ln>
        <a:effectLst/>
      </c:spPr>
    </c:plotArea>
    <c:legend>
      <c:legendPos val="b"/>
      <c:layout>
        <c:manualLayout>
          <c:xMode val="edge"/>
          <c:yMode val="edge"/>
          <c:x val="0.18033155663908687"/>
          <c:y val="0.95149631629631115"/>
          <c:w val="0.62818245704638831"/>
          <c:h val="4.8503683703688821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latin typeface="Arial" panose="020B0604020202020204" pitchFamily="34" charset="0"/>
          <a:cs typeface="Arial" panose="020B0604020202020204" pitchFamily="34" charset="0"/>
        </a:defRPr>
      </a:pPr>
      <a:endParaRPr lang="en-NL"/>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or slides'!$C$147</c:f>
              <c:strCache>
                <c:ptCount val="1"/>
                <c:pt idx="0">
                  <c:v>Market rates</c:v>
                </c:pt>
              </c:strCache>
            </c:strRef>
          </c:tx>
          <c:spPr>
            <a:ln w="12700" cap="rnd">
              <a:solidFill>
                <a:schemeClr val="bg1">
                  <a:lumMod val="75000"/>
                </a:schemeClr>
              </a:solidFill>
              <a:prstDash val="sysDash"/>
              <a:round/>
            </a:ln>
            <a:effectLst>
              <a:outerShdw blurRad="50800" dist="50800" dir="5400000" algn="ctr" rotWithShape="0">
                <a:schemeClr val="bg1"/>
              </a:outerShdw>
            </a:effectLst>
          </c:spPr>
          <c:marker>
            <c:symbol val="circle"/>
            <c:size val="5"/>
            <c:spPr>
              <a:solidFill>
                <a:schemeClr val="bg1">
                  <a:lumMod val="75000"/>
                </a:schemeClr>
              </a:solidFill>
              <a:ln w="9525">
                <a:solidFill>
                  <a:schemeClr val="bg1">
                    <a:lumMod val="75000"/>
                  </a:schemeClr>
                </a:solidFill>
              </a:ln>
              <a:effectLst>
                <a:outerShdw blurRad="50800" dist="50800" dir="5400000" algn="ctr" rotWithShape="0">
                  <a:schemeClr val="bg1"/>
                </a:outerShdw>
              </a:effectLst>
            </c:spPr>
          </c:marker>
          <c:cat>
            <c:strRef>
              <c:f>'for slides'!$B$148:$B$156</c:f>
              <c:strCache>
                <c:ptCount val="9"/>
                <c:pt idx="0">
                  <c:v>up to 1m</c:v>
                </c:pt>
                <c:pt idx="1">
                  <c:v>1-3 m</c:v>
                </c:pt>
                <c:pt idx="2">
                  <c:v>3-6 m</c:v>
                </c:pt>
                <c:pt idx="3">
                  <c:v>6-9 m</c:v>
                </c:pt>
                <c:pt idx="4">
                  <c:v>9-12 m</c:v>
                </c:pt>
                <c:pt idx="5">
                  <c:v>1-3 y</c:v>
                </c:pt>
                <c:pt idx="6">
                  <c:v>3-5 y</c:v>
                </c:pt>
                <c:pt idx="7">
                  <c:v>5-7 y</c:v>
                </c:pt>
                <c:pt idx="8">
                  <c:v>7-10 y</c:v>
                </c:pt>
              </c:strCache>
            </c:strRef>
          </c:cat>
          <c:val>
            <c:numRef>
              <c:f>'for slides'!$C$148:$C$156</c:f>
              <c:numCache>
                <c:formatCode>0.0%</c:formatCode>
                <c:ptCount val="9"/>
                <c:pt idx="0">
                  <c:v>5.1999999999999998E-2</c:v>
                </c:pt>
                <c:pt idx="1">
                  <c:v>5.5E-2</c:v>
                </c:pt>
                <c:pt idx="2">
                  <c:v>5.8999999999999997E-2</c:v>
                </c:pt>
                <c:pt idx="3">
                  <c:v>6.3E-2</c:v>
                </c:pt>
                <c:pt idx="4">
                  <c:v>6.9000000000000006E-2</c:v>
                </c:pt>
                <c:pt idx="5">
                  <c:v>7.5999999999999998E-2</c:v>
                </c:pt>
                <c:pt idx="6">
                  <c:v>8.5000000000000006E-2</c:v>
                </c:pt>
                <c:pt idx="7">
                  <c:v>8.8999999999999996E-2</c:v>
                </c:pt>
                <c:pt idx="8">
                  <c:v>9.0999999999999998E-2</c:v>
                </c:pt>
              </c:numCache>
            </c:numRef>
          </c:val>
          <c:smooth val="0"/>
          <c:extLst>
            <c:ext xmlns:c16="http://schemas.microsoft.com/office/drawing/2014/chart" uri="{C3380CC4-5D6E-409C-BE32-E72D297353CC}">
              <c16:uniqueId val="{00000000-28EC-433A-8774-4130A29A904E}"/>
            </c:ext>
          </c:extLst>
        </c:ser>
        <c:ser>
          <c:idx val="1"/>
          <c:order val="1"/>
          <c:tx>
            <c:strRef>
              <c:f>'for slides'!$D$147</c:f>
              <c:strCache>
                <c:ptCount val="1"/>
                <c:pt idx="0">
                  <c:v>FTP rat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for slides'!$B$148:$B$156</c:f>
              <c:strCache>
                <c:ptCount val="9"/>
                <c:pt idx="0">
                  <c:v>up to 1m</c:v>
                </c:pt>
                <c:pt idx="1">
                  <c:v>1-3 m</c:v>
                </c:pt>
                <c:pt idx="2">
                  <c:v>3-6 m</c:v>
                </c:pt>
                <c:pt idx="3">
                  <c:v>6-9 m</c:v>
                </c:pt>
                <c:pt idx="4">
                  <c:v>9-12 m</c:v>
                </c:pt>
                <c:pt idx="5">
                  <c:v>1-3 y</c:v>
                </c:pt>
                <c:pt idx="6">
                  <c:v>3-5 y</c:v>
                </c:pt>
                <c:pt idx="7">
                  <c:v>5-7 y</c:v>
                </c:pt>
                <c:pt idx="8">
                  <c:v>7-10 y</c:v>
                </c:pt>
              </c:strCache>
            </c:strRef>
          </c:cat>
          <c:val>
            <c:numRef>
              <c:f>'for slides'!$D$148:$D$156</c:f>
              <c:numCache>
                <c:formatCode>0%</c:formatCode>
                <c:ptCount val="9"/>
                <c:pt idx="0">
                  <c:v>7.0000000000000007E-2</c:v>
                </c:pt>
                <c:pt idx="1">
                  <c:v>7.0000000000000007E-2</c:v>
                </c:pt>
                <c:pt idx="2">
                  <c:v>7.0000000000000007E-2</c:v>
                </c:pt>
                <c:pt idx="3">
                  <c:v>7.0000000000000007E-2</c:v>
                </c:pt>
                <c:pt idx="4">
                  <c:v>7.0000000000000007E-2</c:v>
                </c:pt>
                <c:pt idx="5">
                  <c:v>7.0000000000000007E-2</c:v>
                </c:pt>
                <c:pt idx="6">
                  <c:v>7.0000000000000007E-2</c:v>
                </c:pt>
                <c:pt idx="7">
                  <c:v>7.0000000000000007E-2</c:v>
                </c:pt>
                <c:pt idx="8">
                  <c:v>7.0000000000000007E-2</c:v>
                </c:pt>
              </c:numCache>
            </c:numRef>
          </c:val>
          <c:smooth val="0"/>
          <c:extLst>
            <c:ext xmlns:c16="http://schemas.microsoft.com/office/drawing/2014/chart" uri="{C3380CC4-5D6E-409C-BE32-E72D297353CC}">
              <c16:uniqueId val="{00000001-28EC-433A-8774-4130A29A904E}"/>
            </c:ext>
          </c:extLst>
        </c:ser>
        <c:ser>
          <c:idx val="2"/>
          <c:order val="2"/>
          <c:tx>
            <c:strRef>
              <c:f>'for slides'!$E$147</c:f>
              <c:strCache>
                <c:ptCount val="1"/>
                <c:pt idx="0">
                  <c:v>Loans proposal</c:v>
                </c:pt>
              </c:strCache>
            </c:strRef>
          </c:tx>
          <c:spPr>
            <a:ln w="28575" cap="rnd">
              <a:noFill/>
              <a:round/>
            </a:ln>
            <a:effectLst/>
          </c:spPr>
          <c:marker>
            <c:symbol val="circle"/>
            <c:size val="5"/>
            <c:spPr>
              <a:solidFill>
                <a:srgbClr val="0070C0"/>
              </a:solidFill>
              <a:ln w="9525">
                <a:noFill/>
              </a:ln>
              <a:effectLst/>
            </c:spPr>
          </c:marker>
          <c:cat>
            <c:strRef>
              <c:f>'for slides'!$B$148:$B$156</c:f>
              <c:strCache>
                <c:ptCount val="9"/>
                <c:pt idx="0">
                  <c:v>up to 1m</c:v>
                </c:pt>
                <c:pt idx="1">
                  <c:v>1-3 m</c:v>
                </c:pt>
                <c:pt idx="2">
                  <c:v>3-6 m</c:v>
                </c:pt>
                <c:pt idx="3">
                  <c:v>6-9 m</c:v>
                </c:pt>
                <c:pt idx="4">
                  <c:v>9-12 m</c:v>
                </c:pt>
                <c:pt idx="5">
                  <c:v>1-3 y</c:v>
                </c:pt>
                <c:pt idx="6">
                  <c:v>3-5 y</c:v>
                </c:pt>
                <c:pt idx="7">
                  <c:v>5-7 y</c:v>
                </c:pt>
                <c:pt idx="8">
                  <c:v>7-10 y</c:v>
                </c:pt>
              </c:strCache>
            </c:strRef>
          </c:cat>
          <c:val>
            <c:numRef>
              <c:f>'for slides'!$E$148:$E$156</c:f>
              <c:numCache>
                <c:formatCode>General</c:formatCode>
                <c:ptCount val="9"/>
                <c:pt idx="0" formatCode="0%">
                  <c:v>0.08</c:v>
                </c:pt>
              </c:numCache>
            </c:numRef>
          </c:val>
          <c:smooth val="0"/>
          <c:extLst>
            <c:ext xmlns:c16="http://schemas.microsoft.com/office/drawing/2014/chart" uri="{C3380CC4-5D6E-409C-BE32-E72D297353CC}">
              <c16:uniqueId val="{00000002-28EC-433A-8774-4130A29A904E}"/>
            </c:ext>
          </c:extLst>
        </c:ser>
        <c:ser>
          <c:idx val="3"/>
          <c:order val="3"/>
          <c:tx>
            <c:strRef>
              <c:f>'for slides'!$F$147</c:f>
              <c:strCache>
                <c:ptCount val="1"/>
                <c:pt idx="0">
                  <c:v>Deposits proposal</c:v>
                </c:pt>
              </c:strCache>
            </c:strRef>
          </c:tx>
          <c:spPr>
            <a:ln w="28575" cap="rnd">
              <a:noFill/>
              <a:round/>
            </a:ln>
            <a:effectLst/>
          </c:spPr>
          <c:marker>
            <c:symbol val="circle"/>
            <c:size val="5"/>
            <c:spPr>
              <a:solidFill>
                <a:srgbClr val="00B050"/>
              </a:solidFill>
              <a:ln w="9525">
                <a:noFill/>
              </a:ln>
              <a:effectLst/>
            </c:spPr>
          </c:marker>
          <c:cat>
            <c:strRef>
              <c:f>'for slides'!$B$148:$B$156</c:f>
              <c:strCache>
                <c:ptCount val="9"/>
                <c:pt idx="0">
                  <c:v>up to 1m</c:v>
                </c:pt>
                <c:pt idx="1">
                  <c:v>1-3 m</c:v>
                </c:pt>
                <c:pt idx="2">
                  <c:v>3-6 m</c:v>
                </c:pt>
                <c:pt idx="3">
                  <c:v>6-9 m</c:v>
                </c:pt>
                <c:pt idx="4">
                  <c:v>9-12 m</c:v>
                </c:pt>
                <c:pt idx="5">
                  <c:v>1-3 y</c:v>
                </c:pt>
                <c:pt idx="6">
                  <c:v>3-5 y</c:v>
                </c:pt>
                <c:pt idx="7">
                  <c:v>5-7 y</c:v>
                </c:pt>
                <c:pt idx="8">
                  <c:v>7-10 y</c:v>
                </c:pt>
              </c:strCache>
            </c:strRef>
          </c:cat>
          <c:val>
            <c:numRef>
              <c:f>'for slides'!$F$148:$F$156</c:f>
              <c:numCache>
                <c:formatCode>General</c:formatCode>
                <c:ptCount val="9"/>
                <c:pt idx="0" formatCode="0%">
                  <c:v>0.06</c:v>
                </c:pt>
              </c:numCache>
            </c:numRef>
          </c:val>
          <c:smooth val="0"/>
          <c:extLst>
            <c:ext xmlns:c16="http://schemas.microsoft.com/office/drawing/2014/chart" uri="{C3380CC4-5D6E-409C-BE32-E72D297353CC}">
              <c16:uniqueId val="{00000003-28EC-433A-8774-4130A29A904E}"/>
            </c:ext>
          </c:extLst>
        </c:ser>
        <c:dLbls>
          <c:showLegendKey val="0"/>
          <c:showVal val="0"/>
          <c:showCatName val="0"/>
          <c:showSerName val="0"/>
          <c:showPercent val="0"/>
          <c:showBubbleSize val="0"/>
        </c:dLbls>
        <c:marker val="1"/>
        <c:smooth val="0"/>
        <c:axId val="1187601407"/>
        <c:axId val="1187595167"/>
      </c:lineChart>
      <c:catAx>
        <c:axId val="1187601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1187595167"/>
        <c:crosses val="autoZero"/>
        <c:auto val="1"/>
        <c:lblAlgn val="ctr"/>
        <c:lblOffset val="100"/>
        <c:noMultiLvlLbl val="0"/>
      </c:catAx>
      <c:valAx>
        <c:axId val="1187595167"/>
        <c:scaling>
          <c:orientation val="minMax"/>
          <c:min val="4.0000000000000008E-2"/>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11876014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NL"/>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or slides'!$C$128</c:f>
              <c:strCache>
                <c:ptCount val="1"/>
                <c:pt idx="0">
                  <c:v>Loans</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f>'for slides'!$B$129:$B$139</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for slides'!$C$129:$C$139</c:f>
              <c:numCache>
                <c:formatCode>_-* #,##0.0_-;\-* #,##0.0_-;_-* "-"??_-;_-@_-</c:formatCode>
                <c:ptCount val="11"/>
                <c:pt idx="0">
                  <c:v>7</c:v>
                </c:pt>
                <c:pt idx="1">
                  <c:v>7.1</c:v>
                </c:pt>
                <c:pt idx="2">
                  <c:v>7.1999999999999993</c:v>
                </c:pt>
                <c:pt idx="3">
                  <c:v>7.2999999999999989</c:v>
                </c:pt>
                <c:pt idx="4">
                  <c:v>7.3999999999999986</c:v>
                </c:pt>
                <c:pt idx="5">
                  <c:v>7.4999999999999982</c:v>
                </c:pt>
                <c:pt idx="6">
                  <c:v>7.5999999999999979</c:v>
                </c:pt>
                <c:pt idx="7">
                  <c:v>7.6999999999999975</c:v>
                </c:pt>
                <c:pt idx="8">
                  <c:v>7.7999999999999972</c:v>
                </c:pt>
                <c:pt idx="9">
                  <c:v>7.8999999999999968</c:v>
                </c:pt>
                <c:pt idx="10">
                  <c:v>7.9999999999999964</c:v>
                </c:pt>
              </c:numCache>
            </c:numRef>
          </c:val>
          <c:smooth val="0"/>
          <c:extLst>
            <c:ext xmlns:c16="http://schemas.microsoft.com/office/drawing/2014/chart" uri="{C3380CC4-5D6E-409C-BE32-E72D297353CC}">
              <c16:uniqueId val="{00000000-F40B-4DD9-A5B5-916F556E80F3}"/>
            </c:ext>
          </c:extLst>
        </c:ser>
        <c:ser>
          <c:idx val="1"/>
          <c:order val="1"/>
          <c:tx>
            <c:strRef>
              <c:f>'for slides'!$D$128</c:f>
              <c:strCache>
                <c:ptCount val="1"/>
                <c:pt idx="0">
                  <c:v>Deposits</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for slides'!$B$129:$B$139</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for slides'!$D$129:$D$139</c:f>
              <c:numCache>
                <c:formatCode>_-* #,##0.0_-;\-* #,##0.0_-;_-* "-"??_-;_-@_-</c:formatCode>
                <c:ptCount val="11"/>
                <c:pt idx="0">
                  <c:v>4</c:v>
                </c:pt>
                <c:pt idx="1">
                  <c:v>4.2</c:v>
                </c:pt>
                <c:pt idx="2">
                  <c:v>4.4000000000000004</c:v>
                </c:pt>
                <c:pt idx="3">
                  <c:v>4.6000000000000005</c:v>
                </c:pt>
                <c:pt idx="4">
                  <c:v>4.8000000000000007</c:v>
                </c:pt>
                <c:pt idx="5">
                  <c:v>5.0000000000000009</c:v>
                </c:pt>
                <c:pt idx="6">
                  <c:v>5.2000000000000011</c:v>
                </c:pt>
                <c:pt idx="7">
                  <c:v>5.4000000000000012</c:v>
                </c:pt>
                <c:pt idx="8">
                  <c:v>5.6000000000000014</c:v>
                </c:pt>
                <c:pt idx="9">
                  <c:v>5.8000000000000016</c:v>
                </c:pt>
                <c:pt idx="10">
                  <c:v>6.0000000000000018</c:v>
                </c:pt>
              </c:numCache>
            </c:numRef>
          </c:val>
          <c:smooth val="0"/>
          <c:extLst>
            <c:ext xmlns:c16="http://schemas.microsoft.com/office/drawing/2014/chart" uri="{C3380CC4-5D6E-409C-BE32-E72D297353CC}">
              <c16:uniqueId val="{00000001-F40B-4DD9-A5B5-916F556E80F3}"/>
            </c:ext>
          </c:extLst>
        </c:ser>
        <c:ser>
          <c:idx val="2"/>
          <c:order val="2"/>
          <c:tx>
            <c:strRef>
              <c:f>'for slides'!$E$128</c:f>
              <c:strCache>
                <c:ptCount val="1"/>
                <c:pt idx="0">
                  <c:v>FTP</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strRef>
              <c:f>'for slides'!$B$129:$B$139</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for slides'!$E$129:$E$139</c:f>
              <c:numCache>
                <c:formatCode>_-* #,##0.0_-;\-* #,##0.0_-;_-* "-"??_-;_-@_-</c:formatCode>
                <c:ptCount val="11"/>
                <c:pt idx="0">
                  <c:v>5.5</c:v>
                </c:pt>
                <c:pt idx="1">
                  <c:v>5.65</c:v>
                </c:pt>
                <c:pt idx="2">
                  <c:v>5.8</c:v>
                </c:pt>
                <c:pt idx="3">
                  <c:v>5.9499999999999993</c:v>
                </c:pt>
                <c:pt idx="4">
                  <c:v>6.1</c:v>
                </c:pt>
                <c:pt idx="5">
                  <c:v>6.25</c:v>
                </c:pt>
                <c:pt idx="6">
                  <c:v>6.3999999999999995</c:v>
                </c:pt>
                <c:pt idx="7">
                  <c:v>6.5499999999999989</c:v>
                </c:pt>
                <c:pt idx="8">
                  <c:v>6.6999999999999993</c:v>
                </c:pt>
                <c:pt idx="9">
                  <c:v>6.85</c:v>
                </c:pt>
                <c:pt idx="10">
                  <c:v>6.9999999999999991</c:v>
                </c:pt>
              </c:numCache>
            </c:numRef>
          </c:val>
          <c:smooth val="0"/>
          <c:extLst>
            <c:ext xmlns:c16="http://schemas.microsoft.com/office/drawing/2014/chart" uri="{C3380CC4-5D6E-409C-BE32-E72D297353CC}">
              <c16:uniqueId val="{00000002-F40B-4DD9-A5B5-916F556E80F3}"/>
            </c:ext>
          </c:extLst>
        </c:ser>
        <c:ser>
          <c:idx val="3"/>
          <c:order val="3"/>
          <c:tx>
            <c:strRef>
              <c:f>'for slides'!$F$128</c:f>
              <c:strCache>
                <c:ptCount val="1"/>
                <c:pt idx="0">
                  <c:v>Deposits on market</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for slides'!$B$129:$B$139</c:f>
              <c:strCache>
                <c:ptCount val="11"/>
                <c:pt idx="0">
                  <c:v>Jan</c:v>
                </c:pt>
                <c:pt idx="1">
                  <c:v>Feb</c:v>
                </c:pt>
                <c:pt idx="2">
                  <c:v>Mar</c:v>
                </c:pt>
                <c:pt idx="3">
                  <c:v>Apr</c:v>
                </c:pt>
                <c:pt idx="4">
                  <c:v>May</c:v>
                </c:pt>
                <c:pt idx="5">
                  <c:v>Jun</c:v>
                </c:pt>
                <c:pt idx="6">
                  <c:v>Jul</c:v>
                </c:pt>
                <c:pt idx="7">
                  <c:v>Aug</c:v>
                </c:pt>
                <c:pt idx="8">
                  <c:v>Sep</c:v>
                </c:pt>
                <c:pt idx="9">
                  <c:v>Oct</c:v>
                </c:pt>
                <c:pt idx="10">
                  <c:v>Nov</c:v>
                </c:pt>
              </c:strCache>
            </c:strRef>
          </c:cat>
          <c:val>
            <c:numRef>
              <c:f>'for slides'!$F$129:$F$139</c:f>
              <c:numCache>
                <c:formatCode>_-* #,##0.0_-;\-* #,##0.0_-;_-* "-"??_-;_-@_-</c:formatCode>
                <c:ptCount val="11"/>
                <c:pt idx="0">
                  <c:v>3.64</c:v>
                </c:pt>
                <c:pt idx="1">
                  <c:v>3.89</c:v>
                </c:pt>
                <c:pt idx="2">
                  <c:v>3.95</c:v>
                </c:pt>
                <c:pt idx="3">
                  <c:v>4.1700000000000008</c:v>
                </c:pt>
                <c:pt idx="4">
                  <c:v>4.4600000000000009</c:v>
                </c:pt>
                <c:pt idx="5">
                  <c:v>4.6900000000000013</c:v>
                </c:pt>
                <c:pt idx="6">
                  <c:v>4.7100000000000009</c:v>
                </c:pt>
                <c:pt idx="7">
                  <c:v>4.9700000000000015</c:v>
                </c:pt>
                <c:pt idx="8">
                  <c:v>5.1800000000000015</c:v>
                </c:pt>
                <c:pt idx="9">
                  <c:v>5.4400000000000013</c:v>
                </c:pt>
                <c:pt idx="10">
                  <c:v>13</c:v>
                </c:pt>
              </c:numCache>
            </c:numRef>
          </c:val>
          <c:smooth val="0"/>
          <c:extLst>
            <c:ext xmlns:c16="http://schemas.microsoft.com/office/drawing/2014/chart" uri="{C3380CC4-5D6E-409C-BE32-E72D297353CC}">
              <c16:uniqueId val="{00000003-F40B-4DD9-A5B5-916F556E80F3}"/>
            </c:ext>
          </c:extLst>
        </c:ser>
        <c:dLbls>
          <c:showLegendKey val="0"/>
          <c:showVal val="0"/>
          <c:showCatName val="0"/>
          <c:showSerName val="0"/>
          <c:showPercent val="0"/>
          <c:showBubbleSize val="0"/>
        </c:dLbls>
        <c:marker val="1"/>
        <c:smooth val="0"/>
        <c:axId val="1456188543"/>
        <c:axId val="1456196863"/>
      </c:lineChart>
      <c:catAx>
        <c:axId val="1456188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1456196863"/>
        <c:crosses val="autoZero"/>
        <c:auto val="1"/>
        <c:lblAlgn val="ctr"/>
        <c:lblOffset val="100"/>
        <c:noMultiLvlLbl val="0"/>
      </c:catAx>
      <c:valAx>
        <c:axId val="1456196863"/>
        <c:scaling>
          <c:orientation val="minMax"/>
          <c:max val="13.5"/>
          <c:min val="3"/>
        </c:scaling>
        <c:delete val="0"/>
        <c:axPos val="l"/>
        <c:majorGridlines>
          <c:spPr>
            <a:ln w="9525" cap="flat" cmpd="sng" algn="ctr">
              <a:solidFill>
                <a:schemeClr val="tx1">
                  <a:lumMod val="15000"/>
                  <a:lumOff val="85000"/>
                </a:schemeClr>
              </a:solidFill>
              <a:round/>
            </a:ln>
            <a:effectLst/>
          </c:spPr>
        </c:majorGridlines>
        <c:numFmt formatCode="_-* #,##0.0_-;\-* #,##0.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14561885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or slides'!$C$195</c:f>
              <c:strCache>
                <c:ptCount val="1"/>
                <c:pt idx="0">
                  <c:v>FTP based on factual cost of funding</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cat>
            <c:strRef>
              <c:f>'for slides'!$B$196:$B$204</c:f>
              <c:strCache>
                <c:ptCount val="9"/>
                <c:pt idx="0">
                  <c:v>O/N</c:v>
                </c:pt>
                <c:pt idx="1">
                  <c:v>1-3 m</c:v>
                </c:pt>
                <c:pt idx="2">
                  <c:v>3-6 m</c:v>
                </c:pt>
                <c:pt idx="3">
                  <c:v>6-9 m</c:v>
                </c:pt>
                <c:pt idx="4">
                  <c:v>9-12 m</c:v>
                </c:pt>
                <c:pt idx="5">
                  <c:v>1-3 y</c:v>
                </c:pt>
                <c:pt idx="6">
                  <c:v>3-5 y</c:v>
                </c:pt>
                <c:pt idx="7">
                  <c:v>5-7 y</c:v>
                </c:pt>
                <c:pt idx="8">
                  <c:v>7-10 y</c:v>
                </c:pt>
              </c:strCache>
            </c:strRef>
          </c:cat>
          <c:val>
            <c:numRef>
              <c:f>'for slides'!$C$196:$C$204</c:f>
              <c:numCache>
                <c:formatCode>0.0%</c:formatCode>
                <c:ptCount val="9"/>
                <c:pt idx="0">
                  <c:v>5.1999999999999998E-2</c:v>
                </c:pt>
                <c:pt idx="1">
                  <c:v>5.5E-2</c:v>
                </c:pt>
                <c:pt idx="2">
                  <c:v>5.8999999999999997E-2</c:v>
                </c:pt>
                <c:pt idx="3">
                  <c:v>6.3E-2</c:v>
                </c:pt>
                <c:pt idx="4">
                  <c:v>6.9000000000000006E-2</c:v>
                </c:pt>
                <c:pt idx="5">
                  <c:v>7.5999999999999998E-2</c:v>
                </c:pt>
              </c:numCache>
            </c:numRef>
          </c:val>
          <c:smooth val="0"/>
          <c:extLst>
            <c:ext xmlns:c16="http://schemas.microsoft.com/office/drawing/2014/chart" uri="{C3380CC4-5D6E-409C-BE32-E72D297353CC}">
              <c16:uniqueId val="{00000000-EE6A-4D31-86FB-465EF3A7DDBF}"/>
            </c:ext>
          </c:extLst>
        </c:ser>
        <c:ser>
          <c:idx val="1"/>
          <c:order val="1"/>
          <c:tx>
            <c:strRef>
              <c:f>'for slides'!$D$195</c:f>
              <c:strCache>
                <c:ptCount val="1"/>
                <c:pt idx="0">
                  <c:v>Interest rate swaps</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cat>
            <c:strRef>
              <c:f>'for slides'!$B$196:$B$204</c:f>
              <c:strCache>
                <c:ptCount val="9"/>
                <c:pt idx="0">
                  <c:v>O/N</c:v>
                </c:pt>
                <c:pt idx="1">
                  <c:v>1-3 m</c:v>
                </c:pt>
                <c:pt idx="2">
                  <c:v>3-6 m</c:v>
                </c:pt>
                <c:pt idx="3">
                  <c:v>6-9 m</c:v>
                </c:pt>
                <c:pt idx="4">
                  <c:v>9-12 m</c:v>
                </c:pt>
                <c:pt idx="5">
                  <c:v>1-3 y</c:v>
                </c:pt>
                <c:pt idx="6">
                  <c:v>3-5 y</c:v>
                </c:pt>
                <c:pt idx="7">
                  <c:v>5-7 y</c:v>
                </c:pt>
                <c:pt idx="8">
                  <c:v>7-10 y</c:v>
                </c:pt>
              </c:strCache>
            </c:strRef>
          </c:cat>
          <c:val>
            <c:numRef>
              <c:f>'for slides'!$D$196:$D$204</c:f>
              <c:numCache>
                <c:formatCode>0.0%</c:formatCode>
                <c:ptCount val="9"/>
                <c:pt idx="0">
                  <c:v>4.2000000000000003E-2</c:v>
                </c:pt>
                <c:pt idx="1">
                  <c:v>4.4999999999999998E-2</c:v>
                </c:pt>
                <c:pt idx="2">
                  <c:v>4.8999999999999995E-2</c:v>
                </c:pt>
                <c:pt idx="3">
                  <c:v>5.2999999999999999E-2</c:v>
                </c:pt>
                <c:pt idx="4">
                  <c:v>5.9000000000000004E-2</c:v>
                </c:pt>
                <c:pt idx="5">
                  <c:v>6.6000000000000003E-2</c:v>
                </c:pt>
                <c:pt idx="6">
                  <c:v>7.5000000000000011E-2</c:v>
                </c:pt>
                <c:pt idx="7">
                  <c:v>7.9000000000000001E-2</c:v>
                </c:pt>
                <c:pt idx="8">
                  <c:v>8.1000000000000003E-2</c:v>
                </c:pt>
              </c:numCache>
            </c:numRef>
          </c:val>
          <c:smooth val="0"/>
          <c:extLst>
            <c:ext xmlns:c16="http://schemas.microsoft.com/office/drawing/2014/chart" uri="{C3380CC4-5D6E-409C-BE32-E72D297353CC}">
              <c16:uniqueId val="{00000001-EE6A-4D31-86FB-465EF3A7DDBF}"/>
            </c:ext>
          </c:extLst>
        </c:ser>
        <c:ser>
          <c:idx val="2"/>
          <c:order val="2"/>
          <c:tx>
            <c:strRef>
              <c:f>'for slides'!$E$195</c:f>
              <c:strCache>
                <c:ptCount val="1"/>
                <c:pt idx="0">
                  <c:v>FTP extrapolated based on IRS</c:v>
                </c:pt>
              </c:strCache>
            </c:strRef>
          </c:tx>
          <c:spPr>
            <a:ln w="19050" cap="rnd">
              <a:solidFill>
                <a:schemeClr val="accent3"/>
              </a:solidFill>
              <a:prstDash val="sysDash"/>
              <a:round/>
            </a:ln>
            <a:effectLst/>
          </c:spPr>
          <c:marker>
            <c:symbol val="circle"/>
            <c:size val="5"/>
            <c:spPr>
              <a:solidFill>
                <a:schemeClr val="accent3"/>
              </a:solidFill>
              <a:ln w="9525">
                <a:solidFill>
                  <a:schemeClr val="accent3"/>
                </a:solidFill>
              </a:ln>
              <a:effectLst/>
            </c:spPr>
          </c:marker>
          <c:cat>
            <c:strRef>
              <c:f>'for slides'!$B$196:$B$204</c:f>
              <c:strCache>
                <c:ptCount val="9"/>
                <c:pt idx="0">
                  <c:v>O/N</c:v>
                </c:pt>
                <c:pt idx="1">
                  <c:v>1-3 m</c:v>
                </c:pt>
                <c:pt idx="2">
                  <c:v>3-6 m</c:v>
                </c:pt>
                <c:pt idx="3">
                  <c:v>6-9 m</c:v>
                </c:pt>
                <c:pt idx="4">
                  <c:v>9-12 m</c:v>
                </c:pt>
                <c:pt idx="5">
                  <c:v>1-3 y</c:v>
                </c:pt>
                <c:pt idx="6">
                  <c:v>3-5 y</c:v>
                </c:pt>
                <c:pt idx="7">
                  <c:v>5-7 y</c:v>
                </c:pt>
                <c:pt idx="8">
                  <c:v>7-10 y</c:v>
                </c:pt>
              </c:strCache>
            </c:strRef>
          </c:cat>
          <c:val>
            <c:numRef>
              <c:f>'for slides'!$E$196:$E$204</c:f>
              <c:numCache>
                <c:formatCode>General</c:formatCode>
                <c:ptCount val="9"/>
                <c:pt idx="5" formatCode="0.0%">
                  <c:v>7.5999999999999998E-2</c:v>
                </c:pt>
                <c:pt idx="6" formatCode="0.0%">
                  <c:v>8.5000000000000006E-2</c:v>
                </c:pt>
                <c:pt idx="7" formatCode="0.0%">
                  <c:v>8.8999999999999996E-2</c:v>
                </c:pt>
                <c:pt idx="8" formatCode="0.0%">
                  <c:v>9.0999999999999998E-2</c:v>
                </c:pt>
              </c:numCache>
            </c:numRef>
          </c:val>
          <c:smooth val="0"/>
          <c:extLst>
            <c:ext xmlns:c16="http://schemas.microsoft.com/office/drawing/2014/chart" uri="{C3380CC4-5D6E-409C-BE32-E72D297353CC}">
              <c16:uniqueId val="{00000002-EE6A-4D31-86FB-465EF3A7DDBF}"/>
            </c:ext>
          </c:extLst>
        </c:ser>
        <c:dLbls>
          <c:showLegendKey val="0"/>
          <c:showVal val="0"/>
          <c:showCatName val="0"/>
          <c:showSerName val="0"/>
          <c:showPercent val="0"/>
          <c:showBubbleSize val="0"/>
        </c:dLbls>
        <c:marker val="1"/>
        <c:smooth val="0"/>
        <c:axId val="739737679"/>
        <c:axId val="739728943"/>
      </c:lineChart>
      <c:catAx>
        <c:axId val="7397376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739728943"/>
        <c:crosses val="autoZero"/>
        <c:auto val="1"/>
        <c:lblAlgn val="ctr"/>
        <c:lblOffset val="100"/>
        <c:noMultiLvlLbl val="0"/>
      </c:catAx>
      <c:valAx>
        <c:axId val="739728943"/>
        <c:scaling>
          <c:orientation val="minMax"/>
          <c:min val="3.5000000000000003E-2"/>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73973767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NL"/>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798295490531599E-2"/>
          <c:y val="4.7344465711195369E-2"/>
          <c:w val="0.91037620543160791"/>
          <c:h val="0.74611996060677188"/>
        </c:manualLayout>
      </c:layout>
      <c:lineChart>
        <c:grouping val="standard"/>
        <c:varyColors val="0"/>
        <c:ser>
          <c:idx val="0"/>
          <c:order val="0"/>
          <c:tx>
            <c:strRef>
              <c:f>'for slides'!$C$211</c:f>
              <c:strCache>
                <c:ptCount val="1"/>
                <c:pt idx="0">
                  <c:v>FTP </c:v>
                </c:pt>
              </c:strCache>
            </c:strRef>
          </c:tx>
          <c:spPr>
            <a:ln w="19050" cap="rnd">
              <a:solidFill>
                <a:schemeClr val="bg1">
                  <a:lumMod val="75000"/>
                </a:schemeClr>
              </a:solidFill>
              <a:prstDash val="sysDash"/>
              <a:round/>
            </a:ln>
            <a:effectLst/>
          </c:spPr>
          <c:marker>
            <c:symbol val="circle"/>
            <c:size val="5"/>
            <c:spPr>
              <a:solidFill>
                <a:schemeClr val="bg1">
                  <a:lumMod val="85000"/>
                </a:schemeClr>
              </a:solidFill>
              <a:ln w="9525">
                <a:solidFill>
                  <a:schemeClr val="accent1"/>
                </a:solidFill>
              </a:ln>
              <a:effectLst/>
            </c:spPr>
          </c:marker>
          <c:cat>
            <c:strRef>
              <c:f>'for slides'!$B$212:$B$220</c:f>
              <c:strCache>
                <c:ptCount val="9"/>
                <c:pt idx="0">
                  <c:v>up to 1m</c:v>
                </c:pt>
                <c:pt idx="1">
                  <c:v>1-3 m</c:v>
                </c:pt>
                <c:pt idx="2">
                  <c:v>3-6 m</c:v>
                </c:pt>
                <c:pt idx="3">
                  <c:v>6-9 m</c:v>
                </c:pt>
                <c:pt idx="4">
                  <c:v>9-12 m</c:v>
                </c:pt>
                <c:pt idx="5">
                  <c:v>1-3 y</c:v>
                </c:pt>
                <c:pt idx="6">
                  <c:v>3-5 y</c:v>
                </c:pt>
                <c:pt idx="7">
                  <c:v>5-7 y</c:v>
                </c:pt>
                <c:pt idx="8">
                  <c:v>7-10 y</c:v>
                </c:pt>
              </c:strCache>
            </c:strRef>
          </c:cat>
          <c:val>
            <c:numRef>
              <c:f>'for slides'!$C$212:$C$220</c:f>
              <c:numCache>
                <c:formatCode>0.0%</c:formatCode>
                <c:ptCount val="9"/>
                <c:pt idx="0">
                  <c:v>4.2000000000000003E-2</c:v>
                </c:pt>
                <c:pt idx="1">
                  <c:v>4.4999999999999998E-2</c:v>
                </c:pt>
                <c:pt idx="2">
                  <c:v>4.8999999999999995E-2</c:v>
                </c:pt>
                <c:pt idx="3">
                  <c:v>5.2999999999999999E-2</c:v>
                </c:pt>
                <c:pt idx="4">
                  <c:v>5.5E-2</c:v>
                </c:pt>
                <c:pt idx="5">
                  <c:v>6.0999999999999999E-2</c:v>
                </c:pt>
                <c:pt idx="6">
                  <c:v>6.5000000000000002E-2</c:v>
                </c:pt>
                <c:pt idx="7">
                  <c:v>6.9000000000000006E-2</c:v>
                </c:pt>
                <c:pt idx="8">
                  <c:v>7.3999999999999996E-2</c:v>
                </c:pt>
              </c:numCache>
            </c:numRef>
          </c:val>
          <c:smooth val="0"/>
          <c:extLst>
            <c:ext xmlns:c16="http://schemas.microsoft.com/office/drawing/2014/chart" uri="{C3380CC4-5D6E-409C-BE32-E72D297353CC}">
              <c16:uniqueId val="{00000000-AB79-4ED6-9BD1-0CF603A041C5}"/>
            </c:ext>
          </c:extLst>
        </c:ser>
        <c:dLbls>
          <c:showLegendKey val="0"/>
          <c:showVal val="0"/>
          <c:showCatName val="0"/>
          <c:showSerName val="0"/>
          <c:showPercent val="0"/>
          <c:showBubbleSize val="0"/>
        </c:dLbls>
        <c:marker val="1"/>
        <c:smooth val="0"/>
        <c:axId val="864744463"/>
        <c:axId val="864763183"/>
      </c:lineChart>
      <c:catAx>
        <c:axId val="8647444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864763183"/>
        <c:crosses val="autoZero"/>
        <c:auto val="1"/>
        <c:lblAlgn val="ctr"/>
        <c:lblOffset val="100"/>
        <c:noMultiLvlLbl val="0"/>
      </c:catAx>
      <c:valAx>
        <c:axId val="864763183"/>
        <c:scaling>
          <c:orientation val="minMax"/>
          <c:min val="2.5000000000000005E-2"/>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86474446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r slides'!$C$224</c:f>
              <c:strCache>
                <c:ptCount val="1"/>
                <c:pt idx="0">
                  <c:v>Liquidity gap</c:v>
                </c:pt>
              </c:strCache>
            </c:strRef>
          </c:tx>
          <c:spPr>
            <a:solidFill>
              <a:schemeClr val="accent1"/>
            </a:solidFill>
            <a:ln>
              <a:noFill/>
            </a:ln>
            <a:effectLst/>
          </c:spPr>
          <c:invertIfNegative val="0"/>
          <c:cat>
            <c:strRef>
              <c:f>'for slides'!$B$225:$B$233</c:f>
              <c:strCache>
                <c:ptCount val="9"/>
                <c:pt idx="0">
                  <c:v>up to 1m</c:v>
                </c:pt>
                <c:pt idx="1">
                  <c:v>1-3 m</c:v>
                </c:pt>
                <c:pt idx="2">
                  <c:v>3-6 m</c:v>
                </c:pt>
                <c:pt idx="3">
                  <c:v>6-9 m</c:v>
                </c:pt>
                <c:pt idx="4">
                  <c:v>9-12 m</c:v>
                </c:pt>
                <c:pt idx="5">
                  <c:v>1-3 y</c:v>
                </c:pt>
                <c:pt idx="6">
                  <c:v>3-5 y</c:v>
                </c:pt>
                <c:pt idx="7">
                  <c:v>5-7 y</c:v>
                </c:pt>
                <c:pt idx="8">
                  <c:v>7-10 y</c:v>
                </c:pt>
              </c:strCache>
            </c:strRef>
          </c:cat>
          <c:val>
            <c:numRef>
              <c:f>'for slides'!$C$225:$C$233</c:f>
              <c:numCache>
                <c:formatCode>_-* #,##0.0_-;\-* #,##0.0_-;_-* "-"??_-;_-@_-</c:formatCode>
                <c:ptCount val="9"/>
                <c:pt idx="0">
                  <c:v>-100</c:v>
                </c:pt>
                <c:pt idx="1">
                  <c:v>-300</c:v>
                </c:pt>
                <c:pt idx="2">
                  <c:v>-400</c:v>
                </c:pt>
                <c:pt idx="3">
                  <c:v>-200</c:v>
                </c:pt>
                <c:pt idx="4">
                  <c:v>-250</c:v>
                </c:pt>
                <c:pt idx="5">
                  <c:v>-150</c:v>
                </c:pt>
                <c:pt idx="6">
                  <c:v>350</c:v>
                </c:pt>
                <c:pt idx="7">
                  <c:v>450</c:v>
                </c:pt>
                <c:pt idx="8">
                  <c:v>600</c:v>
                </c:pt>
              </c:numCache>
            </c:numRef>
          </c:val>
          <c:extLst>
            <c:ext xmlns:c16="http://schemas.microsoft.com/office/drawing/2014/chart" uri="{C3380CC4-5D6E-409C-BE32-E72D297353CC}">
              <c16:uniqueId val="{00000000-FC40-4D12-8815-5EFFBBD3D318}"/>
            </c:ext>
          </c:extLst>
        </c:ser>
        <c:dLbls>
          <c:showLegendKey val="0"/>
          <c:showVal val="0"/>
          <c:showCatName val="0"/>
          <c:showSerName val="0"/>
          <c:showPercent val="0"/>
          <c:showBubbleSize val="0"/>
        </c:dLbls>
        <c:gapWidth val="219"/>
        <c:overlap val="-27"/>
        <c:axId val="1456192287"/>
        <c:axId val="1456191871"/>
      </c:barChart>
      <c:catAx>
        <c:axId val="145619228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1456191871"/>
        <c:crosses val="autoZero"/>
        <c:auto val="1"/>
        <c:lblAlgn val="ctr"/>
        <c:lblOffset val="100"/>
        <c:noMultiLvlLbl val="0"/>
      </c:catAx>
      <c:valAx>
        <c:axId val="1456191871"/>
        <c:scaling>
          <c:orientation val="minMax"/>
        </c:scaling>
        <c:delete val="0"/>
        <c:axPos val="l"/>
        <c:numFmt formatCode="_-* #,##0.0_-;\-* #,##0.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14561922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legend>
    <c:plotVisOnly val="1"/>
    <c:dispBlanksAs val="gap"/>
    <c:showDLblsOverMax val="0"/>
  </c:chart>
  <c:spPr>
    <a:noFill/>
    <a:ln>
      <a:noFill/>
    </a:ln>
    <a:effectLst/>
  </c:spPr>
  <c:txPr>
    <a:bodyPr/>
    <a:lstStyle/>
    <a:p>
      <a:pPr>
        <a:defRPr sz="1200"/>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3"/>
          <c:order val="0"/>
          <c:tx>
            <c:strRef>
              <c:f>'Treasury Yield_fact_graphs'!$C$3</c:f>
              <c:strCache>
                <c:ptCount val="1"/>
                <c:pt idx="0">
                  <c:v>16.09.2022 - Normal yield curve</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C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easury Yield_fact_graphs'!$B$4:$B$15</c:f>
              <c:strCache>
                <c:ptCount val="12"/>
                <c:pt idx="0">
                  <c:v>0.25Y</c:v>
                </c:pt>
                <c:pt idx="1">
                  <c:v>0.5Y</c:v>
                </c:pt>
                <c:pt idx="2">
                  <c:v>0.75Y</c:v>
                </c:pt>
                <c:pt idx="3">
                  <c:v>1Y</c:v>
                </c:pt>
                <c:pt idx="4">
                  <c:v>2Y</c:v>
                </c:pt>
                <c:pt idx="5">
                  <c:v>3Y</c:v>
                </c:pt>
                <c:pt idx="6">
                  <c:v>5Y</c:v>
                </c:pt>
                <c:pt idx="7">
                  <c:v>7Y</c:v>
                </c:pt>
                <c:pt idx="8">
                  <c:v>10Y</c:v>
                </c:pt>
                <c:pt idx="9">
                  <c:v>15Y</c:v>
                </c:pt>
                <c:pt idx="10">
                  <c:v>20Y</c:v>
                </c:pt>
                <c:pt idx="11">
                  <c:v>30Y</c:v>
                </c:pt>
              </c:strCache>
            </c:strRef>
          </c:cat>
          <c:val>
            <c:numRef>
              <c:f>'Treasury Yield_fact_graphs'!$C$4:$C$15</c:f>
              <c:numCache>
                <c:formatCode>General</c:formatCode>
                <c:ptCount val="12"/>
                <c:pt idx="0">
                  <c:v>7.44</c:v>
                </c:pt>
                <c:pt idx="1">
                  <c:v>7.4</c:v>
                </c:pt>
                <c:pt idx="2">
                  <c:v>7.39</c:v>
                </c:pt>
                <c:pt idx="3">
                  <c:v>7.4</c:v>
                </c:pt>
                <c:pt idx="4">
                  <c:v>7.6</c:v>
                </c:pt>
                <c:pt idx="5">
                  <c:v>7.89</c:v>
                </c:pt>
                <c:pt idx="6">
                  <c:v>8.4700000000000006</c:v>
                </c:pt>
                <c:pt idx="7">
                  <c:v>8.8800000000000008</c:v>
                </c:pt>
                <c:pt idx="8">
                  <c:v>9.2100000000000009</c:v>
                </c:pt>
                <c:pt idx="9">
                  <c:v>9.42</c:v>
                </c:pt>
                <c:pt idx="10">
                  <c:v>9.52</c:v>
                </c:pt>
                <c:pt idx="11">
                  <c:v>9.65</c:v>
                </c:pt>
              </c:numCache>
            </c:numRef>
          </c:val>
          <c:smooth val="0"/>
          <c:extLst>
            <c:ext xmlns:c16="http://schemas.microsoft.com/office/drawing/2014/chart" uri="{C3380CC4-5D6E-409C-BE32-E72D297353CC}">
              <c16:uniqueId val="{00000000-6F02-44FF-B644-6C57AA27F625}"/>
            </c:ext>
          </c:extLst>
        </c:ser>
        <c:ser>
          <c:idx val="0"/>
          <c:order val="1"/>
          <c:tx>
            <c:strRef>
              <c:f>'Treasury Yield_fact_graphs'!$D$3</c:f>
              <c:strCache>
                <c:ptCount val="1"/>
                <c:pt idx="0">
                  <c:v>22.02.2022 - Flat yield curv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lumMod val="50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easury Yield_fact_graphs'!$B$4:$B$15</c:f>
              <c:strCache>
                <c:ptCount val="12"/>
                <c:pt idx="0">
                  <c:v>0.25Y</c:v>
                </c:pt>
                <c:pt idx="1">
                  <c:v>0.5Y</c:v>
                </c:pt>
                <c:pt idx="2">
                  <c:v>0.75Y</c:v>
                </c:pt>
                <c:pt idx="3">
                  <c:v>1Y</c:v>
                </c:pt>
                <c:pt idx="4">
                  <c:v>2Y</c:v>
                </c:pt>
                <c:pt idx="5">
                  <c:v>3Y</c:v>
                </c:pt>
                <c:pt idx="6">
                  <c:v>5Y</c:v>
                </c:pt>
                <c:pt idx="7">
                  <c:v>7Y</c:v>
                </c:pt>
                <c:pt idx="8">
                  <c:v>10Y</c:v>
                </c:pt>
                <c:pt idx="9">
                  <c:v>15Y</c:v>
                </c:pt>
                <c:pt idx="10">
                  <c:v>20Y</c:v>
                </c:pt>
                <c:pt idx="11">
                  <c:v>30Y</c:v>
                </c:pt>
              </c:strCache>
            </c:strRef>
          </c:cat>
          <c:val>
            <c:numRef>
              <c:f>'Treasury Yield_fact_graphs'!$D$4:$D$15</c:f>
              <c:numCache>
                <c:formatCode>General</c:formatCode>
                <c:ptCount val="12"/>
                <c:pt idx="0">
                  <c:v>11.46</c:v>
                </c:pt>
                <c:pt idx="1">
                  <c:v>11.46</c:v>
                </c:pt>
                <c:pt idx="2">
                  <c:v>11.45</c:v>
                </c:pt>
                <c:pt idx="3">
                  <c:v>11.44</c:v>
                </c:pt>
                <c:pt idx="4">
                  <c:v>11.34</c:v>
                </c:pt>
                <c:pt idx="5">
                  <c:v>11.25</c:v>
                </c:pt>
                <c:pt idx="6">
                  <c:v>11.1</c:v>
                </c:pt>
                <c:pt idx="7">
                  <c:v>10.96</c:v>
                </c:pt>
                <c:pt idx="8">
                  <c:v>10.78</c:v>
                </c:pt>
                <c:pt idx="9">
                  <c:v>10.59</c:v>
                </c:pt>
                <c:pt idx="10">
                  <c:v>10.49</c:v>
                </c:pt>
                <c:pt idx="11">
                  <c:v>10.39</c:v>
                </c:pt>
              </c:numCache>
            </c:numRef>
          </c:val>
          <c:smooth val="0"/>
          <c:extLst>
            <c:ext xmlns:c16="http://schemas.microsoft.com/office/drawing/2014/chart" uri="{C3380CC4-5D6E-409C-BE32-E72D297353CC}">
              <c16:uniqueId val="{00000001-6F02-44FF-B644-6C57AA27F625}"/>
            </c:ext>
          </c:extLst>
        </c:ser>
        <c:ser>
          <c:idx val="1"/>
          <c:order val="2"/>
          <c:tx>
            <c:strRef>
              <c:f>'Treasury Yield_fact_graphs'!$E$3</c:f>
              <c:strCache>
                <c:ptCount val="1"/>
                <c:pt idx="0">
                  <c:v>24.02.2022 - Inverted yield curv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dLbl>
              <c:idx val="11"/>
              <c:layout>
                <c:manualLayout>
                  <c:x val="-1.0217598761847049E-2"/>
                  <c:y val="-0.1163338131222262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F02-44FF-B644-6C57AA27F62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lumMod val="50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easury Yield_fact_graphs'!$B$4:$B$15</c:f>
              <c:strCache>
                <c:ptCount val="12"/>
                <c:pt idx="0">
                  <c:v>0.25Y</c:v>
                </c:pt>
                <c:pt idx="1">
                  <c:v>0.5Y</c:v>
                </c:pt>
                <c:pt idx="2">
                  <c:v>0.75Y</c:v>
                </c:pt>
                <c:pt idx="3">
                  <c:v>1Y</c:v>
                </c:pt>
                <c:pt idx="4">
                  <c:v>2Y</c:v>
                </c:pt>
                <c:pt idx="5">
                  <c:v>3Y</c:v>
                </c:pt>
                <c:pt idx="6">
                  <c:v>5Y</c:v>
                </c:pt>
                <c:pt idx="7">
                  <c:v>7Y</c:v>
                </c:pt>
                <c:pt idx="8">
                  <c:v>10Y</c:v>
                </c:pt>
                <c:pt idx="9">
                  <c:v>15Y</c:v>
                </c:pt>
                <c:pt idx="10">
                  <c:v>20Y</c:v>
                </c:pt>
                <c:pt idx="11">
                  <c:v>30Y</c:v>
                </c:pt>
              </c:strCache>
            </c:strRef>
          </c:cat>
          <c:val>
            <c:numRef>
              <c:f>'Treasury Yield_fact_graphs'!$E$4:$E$15</c:f>
              <c:numCache>
                <c:formatCode>General</c:formatCode>
                <c:ptCount val="12"/>
                <c:pt idx="0">
                  <c:v>16.88</c:v>
                </c:pt>
                <c:pt idx="1">
                  <c:v>16.7</c:v>
                </c:pt>
                <c:pt idx="2">
                  <c:v>16.510000000000002</c:v>
                </c:pt>
                <c:pt idx="3">
                  <c:v>16.309999999999999</c:v>
                </c:pt>
                <c:pt idx="4">
                  <c:v>15.66</c:v>
                </c:pt>
                <c:pt idx="5">
                  <c:v>15.34</c:v>
                </c:pt>
                <c:pt idx="6">
                  <c:v>14.96</c:v>
                </c:pt>
                <c:pt idx="7">
                  <c:v>14.36</c:v>
                </c:pt>
                <c:pt idx="8">
                  <c:v>13.16</c:v>
                </c:pt>
                <c:pt idx="9">
                  <c:v>11.95</c:v>
                </c:pt>
                <c:pt idx="10">
                  <c:v>11.32</c:v>
                </c:pt>
                <c:pt idx="11">
                  <c:v>10.66</c:v>
                </c:pt>
              </c:numCache>
            </c:numRef>
          </c:val>
          <c:smooth val="0"/>
          <c:extLst>
            <c:ext xmlns:c16="http://schemas.microsoft.com/office/drawing/2014/chart" uri="{C3380CC4-5D6E-409C-BE32-E72D297353CC}">
              <c16:uniqueId val="{00000003-6F02-44FF-B644-6C57AA27F625}"/>
            </c:ext>
          </c:extLst>
        </c:ser>
        <c:dLbls>
          <c:dLblPos val="t"/>
          <c:showLegendKey val="0"/>
          <c:showVal val="1"/>
          <c:showCatName val="0"/>
          <c:showSerName val="0"/>
          <c:showPercent val="0"/>
          <c:showBubbleSize val="0"/>
        </c:dLbls>
        <c:marker val="1"/>
        <c:smooth val="0"/>
        <c:axId val="1203601784"/>
        <c:axId val="1203602112"/>
      </c:lineChart>
      <c:catAx>
        <c:axId val="1203601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1203602112"/>
        <c:crosses val="autoZero"/>
        <c:auto val="1"/>
        <c:lblAlgn val="ctr"/>
        <c:lblOffset val="100"/>
        <c:noMultiLvlLbl val="0"/>
      </c:catAx>
      <c:valAx>
        <c:axId val="1203602112"/>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12036017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legend>
    <c:plotVisOnly val="1"/>
    <c:dispBlanksAs val="gap"/>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or slides'!$C$211</c:f>
              <c:strCache>
                <c:ptCount val="1"/>
                <c:pt idx="0">
                  <c:v>FTP </c:v>
                </c:pt>
              </c:strCache>
            </c:strRef>
          </c:tx>
          <c:spPr>
            <a:ln w="19050" cap="rnd">
              <a:solidFill>
                <a:schemeClr val="bg1">
                  <a:lumMod val="75000"/>
                </a:schemeClr>
              </a:solidFill>
              <a:prstDash val="sysDash"/>
              <a:round/>
            </a:ln>
            <a:effectLst/>
          </c:spPr>
          <c:marker>
            <c:symbol val="circle"/>
            <c:size val="5"/>
            <c:spPr>
              <a:solidFill>
                <a:schemeClr val="bg1">
                  <a:lumMod val="85000"/>
                </a:schemeClr>
              </a:solidFill>
              <a:ln w="9525">
                <a:solidFill>
                  <a:schemeClr val="accent1"/>
                </a:solidFill>
              </a:ln>
              <a:effectLst/>
            </c:spPr>
          </c:marker>
          <c:cat>
            <c:strRef>
              <c:f>'for slides'!$B$212:$B$220</c:f>
              <c:strCache>
                <c:ptCount val="9"/>
                <c:pt idx="0">
                  <c:v>up to 1m</c:v>
                </c:pt>
                <c:pt idx="1">
                  <c:v>1-3 m</c:v>
                </c:pt>
                <c:pt idx="2">
                  <c:v>3-6 m</c:v>
                </c:pt>
                <c:pt idx="3">
                  <c:v>6-9 m</c:v>
                </c:pt>
                <c:pt idx="4">
                  <c:v>9-12 m</c:v>
                </c:pt>
                <c:pt idx="5">
                  <c:v>1-3 y</c:v>
                </c:pt>
                <c:pt idx="6">
                  <c:v>3-5 y</c:v>
                </c:pt>
                <c:pt idx="7">
                  <c:v>5-7 y</c:v>
                </c:pt>
                <c:pt idx="8">
                  <c:v>7-10 y</c:v>
                </c:pt>
              </c:strCache>
            </c:strRef>
          </c:cat>
          <c:val>
            <c:numRef>
              <c:f>'for slides'!$C$212:$C$220</c:f>
              <c:numCache>
                <c:formatCode>0.0%</c:formatCode>
                <c:ptCount val="9"/>
                <c:pt idx="0">
                  <c:v>4.2000000000000003E-2</c:v>
                </c:pt>
                <c:pt idx="1">
                  <c:v>4.4999999999999998E-2</c:v>
                </c:pt>
                <c:pt idx="2">
                  <c:v>4.8999999999999995E-2</c:v>
                </c:pt>
                <c:pt idx="3">
                  <c:v>5.2999999999999999E-2</c:v>
                </c:pt>
                <c:pt idx="4">
                  <c:v>5.5E-2</c:v>
                </c:pt>
                <c:pt idx="5">
                  <c:v>6.0999999999999999E-2</c:v>
                </c:pt>
                <c:pt idx="6">
                  <c:v>6.5000000000000002E-2</c:v>
                </c:pt>
                <c:pt idx="7">
                  <c:v>6.9000000000000006E-2</c:v>
                </c:pt>
                <c:pt idx="8">
                  <c:v>7.3999999999999996E-2</c:v>
                </c:pt>
              </c:numCache>
            </c:numRef>
          </c:val>
          <c:smooth val="0"/>
          <c:extLst>
            <c:ext xmlns:c16="http://schemas.microsoft.com/office/drawing/2014/chart" uri="{C3380CC4-5D6E-409C-BE32-E72D297353CC}">
              <c16:uniqueId val="{00000000-7C5F-4579-A00C-71E669D6E053}"/>
            </c:ext>
          </c:extLst>
        </c:ser>
        <c:ser>
          <c:idx val="1"/>
          <c:order val="1"/>
          <c:tx>
            <c:strRef>
              <c:f>'for slides'!$D$211</c:f>
              <c:strCache>
                <c:ptCount val="1"/>
                <c:pt idx="0">
                  <c:v>FTP adj on liquidity</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for slides'!$B$212:$B$220</c:f>
              <c:strCache>
                <c:ptCount val="9"/>
                <c:pt idx="0">
                  <c:v>up to 1m</c:v>
                </c:pt>
                <c:pt idx="1">
                  <c:v>1-3 m</c:v>
                </c:pt>
                <c:pt idx="2">
                  <c:v>3-6 m</c:v>
                </c:pt>
                <c:pt idx="3">
                  <c:v>6-9 m</c:v>
                </c:pt>
                <c:pt idx="4">
                  <c:v>9-12 m</c:v>
                </c:pt>
                <c:pt idx="5">
                  <c:v>1-3 y</c:v>
                </c:pt>
                <c:pt idx="6">
                  <c:v>3-5 y</c:v>
                </c:pt>
                <c:pt idx="7">
                  <c:v>5-7 y</c:v>
                </c:pt>
                <c:pt idx="8">
                  <c:v>7-10 y</c:v>
                </c:pt>
              </c:strCache>
            </c:strRef>
          </c:cat>
          <c:val>
            <c:numRef>
              <c:f>'for slides'!$D$212:$D$220</c:f>
              <c:numCache>
                <c:formatCode>0.0%</c:formatCode>
                <c:ptCount val="9"/>
                <c:pt idx="0">
                  <c:v>3.5000000000000003E-2</c:v>
                </c:pt>
                <c:pt idx="1">
                  <c:v>3.9E-2</c:v>
                </c:pt>
                <c:pt idx="2">
                  <c:v>4.3999999999999997E-2</c:v>
                </c:pt>
                <c:pt idx="3">
                  <c:v>4.9000000000000002E-2</c:v>
                </c:pt>
                <c:pt idx="4">
                  <c:v>5.1999999999999998E-2</c:v>
                </c:pt>
                <c:pt idx="5">
                  <c:v>5.7999999999999996E-2</c:v>
                </c:pt>
                <c:pt idx="6">
                  <c:v>6.7000000000000004E-2</c:v>
                </c:pt>
                <c:pt idx="7">
                  <c:v>7.3000000000000009E-2</c:v>
                </c:pt>
                <c:pt idx="8">
                  <c:v>7.8E-2</c:v>
                </c:pt>
              </c:numCache>
            </c:numRef>
          </c:val>
          <c:smooth val="0"/>
          <c:extLst>
            <c:ext xmlns:c16="http://schemas.microsoft.com/office/drawing/2014/chart" uri="{C3380CC4-5D6E-409C-BE32-E72D297353CC}">
              <c16:uniqueId val="{00000001-7C5F-4579-A00C-71E669D6E053}"/>
            </c:ext>
          </c:extLst>
        </c:ser>
        <c:dLbls>
          <c:showLegendKey val="0"/>
          <c:showVal val="0"/>
          <c:showCatName val="0"/>
          <c:showSerName val="0"/>
          <c:showPercent val="0"/>
          <c:showBubbleSize val="0"/>
        </c:dLbls>
        <c:marker val="1"/>
        <c:smooth val="0"/>
        <c:axId val="864744463"/>
        <c:axId val="864763183"/>
      </c:lineChart>
      <c:catAx>
        <c:axId val="8647444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864763183"/>
        <c:crosses val="autoZero"/>
        <c:auto val="1"/>
        <c:lblAlgn val="ctr"/>
        <c:lblOffset val="100"/>
        <c:noMultiLvlLbl val="0"/>
      </c:catAx>
      <c:valAx>
        <c:axId val="864763183"/>
        <c:scaling>
          <c:orientation val="minMax"/>
          <c:min val="2.5000000000000005E-2"/>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864744463"/>
        <c:crosses val="autoZero"/>
        <c:crossBetween val="between"/>
      </c:valAx>
      <c:spPr>
        <a:noFill/>
        <a:ln>
          <a:noFill/>
        </a:ln>
        <a:effectLst/>
      </c:spPr>
    </c:plotArea>
    <c:legend>
      <c:legendPos val="b"/>
      <c:layout>
        <c:manualLayout>
          <c:xMode val="edge"/>
          <c:yMode val="edge"/>
          <c:x val="0.41175746073259623"/>
          <c:y val="0.91739792967776435"/>
          <c:w val="0.3613172512992559"/>
          <c:h val="7.876074663233874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200"/>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r slides'!$C$172:$C$173</c:f>
              <c:strCache>
                <c:ptCount val="2"/>
                <c:pt idx="0">
                  <c:v>Principal repayment</c:v>
                </c:pt>
                <c:pt idx="1">
                  <c:v>Loan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r slides'!$B$174:$B$181</c:f>
              <c:strCache>
                <c:ptCount val="8"/>
                <c:pt idx="0">
                  <c:v>1-3 m</c:v>
                </c:pt>
                <c:pt idx="1">
                  <c:v>3-6 m</c:v>
                </c:pt>
                <c:pt idx="2">
                  <c:v>6-9 m</c:v>
                </c:pt>
                <c:pt idx="3">
                  <c:v>9-12 m</c:v>
                </c:pt>
                <c:pt idx="4">
                  <c:v>1-3 y</c:v>
                </c:pt>
                <c:pt idx="5">
                  <c:v>3-5 y</c:v>
                </c:pt>
                <c:pt idx="6">
                  <c:v>5-7 y</c:v>
                </c:pt>
                <c:pt idx="7">
                  <c:v>7-10 y</c:v>
                </c:pt>
              </c:strCache>
            </c:strRef>
          </c:cat>
          <c:val>
            <c:numRef>
              <c:f>'for slides'!$C$174:$C$181</c:f>
              <c:numCache>
                <c:formatCode>_-* #,##0_-;\-* #,##0_-;_-* "-"??_-;_-@_-</c:formatCode>
                <c:ptCount val="8"/>
                <c:pt idx="0">
                  <c:v>250</c:v>
                </c:pt>
                <c:pt idx="1">
                  <c:v>250</c:v>
                </c:pt>
                <c:pt idx="2">
                  <c:v>250</c:v>
                </c:pt>
                <c:pt idx="3">
                  <c:v>250</c:v>
                </c:pt>
                <c:pt idx="4">
                  <c:v>3000</c:v>
                </c:pt>
                <c:pt idx="5">
                  <c:v>3000</c:v>
                </c:pt>
                <c:pt idx="6">
                  <c:v>3000</c:v>
                </c:pt>
                <c:pt idx="7">
                  <c:v>3000</c:v>
                </c:pt>
              </c:numCache>
            </c:numRef>
          </c:val>
          <c:extLst>
            <c:ext xmlns:c16="http://schemas.microsoft.com/office/drawing/2014/chart" uri="{C3380CC4-5D6E-409C-BE32-E72D297353CC}">
              <c16:uniqueId val="{00000000-D453-4184-B6D1-F199B129CA36}"/>
            </c:ext>
          </c:extLst>
        </c:ser>
        <c:ser>
          <c:idx val="1"/>
          <c:order val="1"/>
          <c:tx>
            <c:strRef>
              <c:f>'for slides'!$D$172:$D$173</c:f>
              <c:strCache>
                <c:ptCount val="2"/>
                <c:pt idx="0">
                  <c:v>Principal repayment</c:v>
                </c:pt>
                <c:pt idx="1">
                  <c:v>Loan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N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r slides'!$B$174:$B$181</c:f>
              <c:strCache>
                <c:ptCount val="8"/>
                <c:pt idx="0">
                  <c:v>1-3 m</c:v>
                </c:pt>
                <c:pt idx="1">
                  <c:v>3-6 m</c:v>
                </c:pt>
                <c:pt idx="2">
                  <c:v>6-9 m</c:v>
                </c:pt>
                <c:pt idx="3">
                  <c:v>9-12 m</c:v>
                </c:pt>
                <c:pt idx="4">
                  <c:v>1-3 y</c:v>
                </c:pt>
                <c:pt idx="5">
                  <c:v>3-5 y</c:v>
                </c:pt>
                <c:pt idx="6">
                  <c:v>5-7 y</c:v>
                </c:pt>
                <c:pt idx="7">
                  <c:v>7-10 y</c:v>
                </c:pt>
              </c:strCache>
            </c:strRef>
          </c:cat>
          <c:val>
            <c:numRef>
              <c:f>'for slides'!$D$174:$D$181</c:f>
              <c:numCache>
                <c:formatCode>_-* #,##0_-;\-* #,##0_-;_-* "-"??_-;_-@_-</c:formatCode>
                <c:ptCount val="8"/>
                <c:pt idx="0">
                  <c:v>0</c:v>
                </c:pt>
                <c:pt idx="1">
                  <c:v>0</c:v>
                </c:pt>
                <c:pt idx="2">
                  <c:v>0</c:v>
                </c:pt>
                <c:pt idx="3">
                  <c:v>0</c:v>
                </c:pt>
                <c:pt idx="4">
                  <c:v>0</c:v>
                </c:pt>
                <c:pt idx="5">
                  <c:v>6500</c:v>
                </c:pt>
                <c:pt idx="6">
                  <c:v>0</c:v>
                </c:pt>
                <c:pt idx="7">
                  <c:v>6500</c:v>
                </c:pt>
              </c:numCache>
            </c:numRef>
          </c:val>
          <c:extLst>
            <c:ext xmlns:c16="http://schemas.microsoft.com/office/drawing/2014/chart" uri="{C3380CC4-5D6E-409C-BE32-E72D297353CC}">
              <c16:uniqueId val="{00000001-D453-4184-B6D1-F199B129CA36}"/>
            </c:ext>
          </c:extLst>
        </c:ser>
        <c:dLbls>
          <c:dLblPos val="outEnd"/>
          <c:showLegendKey val="0"/>
          <c:showVal val="1"/>
          <c:showCatName val="0"/>
          <c:showSerName val="0"/>
          <c:showPercent val="0"/>
          <c:showBubbleSize val="0"/>
        </c:dLbls>
        <c:gapWidth val="219"/>
        <c:overlap val="-27"/>
        <c:axId val="867741407"/>
        <c:axId val="867730175"/>
      </c:barChart>
      <c:catAx>
        <c:axId val="867741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NL"/>
          </a:p>
        </c:txPr>
        <c:crossAx val="867730175"/>
        <c:crosses val="autoZero"/>
        <c:auto val="1"/>
        <c:lblAlgn val="ctr"/>
        <c:lblOffset val="100"/>
        <c:noMultiLvlLbl val="0"/>
      </c:catAx>
      <c:valAx>
        <c:axId val="867730175"/>
        <c:scaling>
          <c:orientation val="minMax"/>
        </c:scaling>
        <c:delete val="1"/>
        <c:axPos val="l"/>
        <c:numFmt formatCode="_-* #,##0_-;\-* #,##0_-;_-* &quot;-&quot;??_-;_-@_-" sourceLinked="1"/>
        <c:majorTickMark val="none"/>
        <c:minorTickMark val="none"/>
        <c:tickLblPos val="nextTo"/>
        <c:crossAx val="8677414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0"/>
          <c:tx>
            <c:strRef>
              <c:f>'for slides'!$D$211</c:f>
              <c:strCache>
                <c:ptCount val="1"/>
                <c:pt idx="0">
                  <c:v>FTP adj on liquidity</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for slides'!$B$212:$B$220</c:f>
              <c:strCache>
                <c:ptCount val="9"/>
                <c:pt idx="0">
                  <c:v>up to 1m</c:v>
                </c:pt>
                <c:pt idx="1">
                  <c:v>1-3 m</c:v>
                </c:pt>
                <c:pt idx="2">
                  <c:v>3-6 m</c:v>
                </c:pt>
                <c:pt idx="3">
                  <c:v>6-9 m</c:v>
                </c:pt>
                <c:pt idx="4">
                  <c:v>9-12 m</c:v>
                </c:pt>
                <c:pt idx="5">
                  <c:v>1-3 y</c:v>
                </c:pt>
                <c:pt idx="6">
                  <c:v>3-5 y</c:v>
                </c:pt>
                <c:pt idx="7">
                  <c:v>5-7 y</c:v>
                </c:pt>
                <c:pt idx="8">
                  <c:v>7-10 y</c:v>
                </c:pt>
              </c:strCache>
            </c:strRef>
          </c:cat>
          <c:val>
            <c:numRef>
              <c:f>'for slides'!$D$212:$D$220</c:f>
              <c:numCache>
                <c:formatCode>0.0%</c:formatCode>
                <c:ptCount val="9"/>
                <c:pt idx="0">
                  <c:v>3.5000000000000003E-2</c:v>
                </c:pt>
                <c:pt idx="1">
                  <c:v>3.9E-2</c:v>
                </c:pt>
                <c:pt idx="2">
                  <c:v>4.3999999999999997E-2</c:v>
                </c:pt>
                <c:pt idx="3">
                  <c:v>4.9000000000000002E-2</c:v>
                </c:pt>
                <c:pt idx="4">
                  <c:v>5.1999999999999998E-2</c:v>
                </c:pt>
                <c:pt idx="5">
                  <c:v>5.7999999999999996E-2</c:v>
                </c:pt>
                <c:pt idx="6">
                  <c:v>6.7000000000000004E-2</c:v>
                </c:pt>
                <c:pt idx="7">
                  <c:v>7.3000000000000009E-2</c:v>
                </c:pt>
                <c:pt idx="8">
                  <c:v>7.8E-2</c:v>
                </c:pt>
              </c:numCache>
            </c:numRef>
          </c:val>
          <c:smooth val="0"/>
          <c:extLst>
            <c:ext xmlns:c16="http://schemas.microsoft.com/office/drawing/2014/chart" uri="{C3380CC4-5D6E-409C-BE32-E72D297353CC}">
              <c16:uniqueId val="{00000001-CE48-4C6F-9BA1-E8C91F9E2DA3}"/>
            </c:ext>
          </c:extLst>
        </c:ser>
        <c:dLbls>
          <c:showLegendKey val="0"/>
          <c:showVal val="0"/>
          <c:showCatName val="0"/>
          <c:showSerName val="0"/>
          <c:showPercent val="0"/>
          <c:showBubbleSize val="0"/>
        </c:dLbls>
        <c:marker val="1"/>
        <c:smooth val="0"/>
        <c:axId val="864744463"/>
        <c:axId val="864763183"/>
      </c:lineChart>
      <c:catAx>
        <c:axId val="8647444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NL"/>
          </a:p>
        </c:txPr>
        <c:crossAx val="864763183"/>
        <c:crosses val="autoZero"/>
        <c:auto val="1"/>
        <c:lblAlgn val="ctr"/>
        <c:lblOffset val="100"/>
        <c:noMultiLvlLbl val="0"/>
      </c:catAx>
      <c:valAx>
        <c:axId val="864763183"/>
        <c:scaling>
          <c:orientation val="minMax"/>
          <c:min val="2.5000000000000005E-2"/>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NL"/>
          </a:p>
        </c:txPr>
        <c:crossAx val="864744463"/>
        <c:crosses val="autoZero"/>
        <c:crossBetween val="between"/>
      </c:valAx>
      <c:spPr>
        <a:noFill/>
        <a:ln>
          <a:noFill/>
        </a:ln>
        <a:effectLst/>
      </c:spPr>
    </c:plotArea>
    <c:legend>
      <c:legendPos val="b"/>
      <c:layout>
        <c:manualLayout>
          <c:xMode val="edge"/>
          <c:yMode val="edge"/>
          <c:x val="0.41175746073259623"/>
          <c:y val="0.91739792967776435"/>
          <c:w val="0.3613172512992559"/>
          <c:h val="7.876074663233874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400"/>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404004220502473E-2"/>
          <c:y val="2.8669154062944492E-2"/>
          <c:w val="0.87538741133753128"/>
          <c:h val="0.87436384542626433"/>
        </c:manualLayout>
      </c:layout>
      <c:scatterChart>
        <c:scatterStyle val="lineMarker"/>
        <c:varyColors val="0"/>
        <c:ser>
          <c:idx val="0"/>
          <c:order val="0"/>
          <c:tx>
            <c:strRef>
              <c:f>'Treasury Yield_calc'!$D$18</c:f>
              <c:strCache>
                <c:ptCount val="1"/>
                <c:pt idx="0">
                  <c:v>Treasury yield</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Treasury Yield_calc'!$C$19:$C$29</c:f>
              <c:numCache>
                <c:formatCode>0.0%</c:formatCode>
                <c:ptCount val="11"/>
                <c:pt idx="0" formatCode="0%">
                  <c:v>1</c:v>
                </c:pt>
                <c:pt idx="1">
                  <c:v>0.8</c:v>
                </c:pt>
                <c:pt idx="2">
                  <c:v>0.60000000000000009</c:v>
                </c:pt>
                <c:pt idx="3">
                  <c:v>0.40000000000000008</c:v>
                </c:pt>
                <c:pt idx="4">
                  <c:v>0.20000000000000007</c:v>
                </c:pt>
                <c:pt idx="5">
                  <c:v>0</c:v>
                </c:pt>
                <c:pt idx="6">
                  <c:v>-0.2</c:v>
                </c:pt>
                <c:pt idx="7">
                  <c:v>-0.4</c:v>
                </c:pt>
                <c:pt idx="8">
                  <c:v>-0.60000000000000009</c:v>
                </c:pt>
                <c:pt idx="9">
                  <c:v>-0.8</c:v>
                </c:pt>
                <c:pt idx="10">
                  <c:v>-1</c:v>
                </c:pt>
              </c:numCache>
            </c:numRef>
          </c:xVal>
          <c:yVal>
            <c:numRef>
              <c:f>'Treasury Yield_calc'!$D$19:$D$29</c:f>
              <c:numCache>
                <c:formatCode>0.0%</c:formatCode>
                <c:ptCount val="11"/>
                <c:pt idx="0">
                  <c:v>0.72666666666666668</c:v>
                </c:pt>
                <c:pt idx="1">
                  <c:v>0.49444444444444441</c:v>
                </c:pt>
                <c:pt idx="2">
                  <c:v>0.32857142857142857</c:v>
                </c:pt>
                <c:pt idx="3">
                  <c:v>0.20416666666666672</c:v>
                </c:pt>
                <c:pt idx="4">
                  <c:v>0.10740740740740744</c:v>
                </c:pt>
                <c:pt idx="5">
                  <c:v>0.03</c:v>
                </c:pt>
                <c:pt idx="6">
                  <c:v>-3.3333333333333333E-2</c:v>
                </c:pt>
                <c:pt idx="7">
                  <c:v>-8.611111111111111E-2</c:v>
                </c:pt>
                <c:pt idx="8">
                  <c:v>-0.13076923076923078</c:v>
                </c:pt>
                <c:pt idx="9">
                  <c:v>-0.16904761904761903</c:v>
                </c:pt>
                <c:pt idx="10">
                  <c:v>-0.20222222222222222</c:v>
                </c:pt>
              </c:numCache>
            </c:numRef>
          </c:yVal>
          <c:smooth val="0"/>
          <c:extLst>
            <c:ext xmlns:c16="http://schemas.microsoft.com/office/drawing/2014/chart" uri="{C3380CC4-5D6E-409C-BE32-E72D297353CC}">
              <c16:uniqueId val="{00000000-98EF-4B60-8ED1-633C6B156984}"/>
            </c:ext>
          </c:extLst>
        </c:ser>
        <c:dLbls>
          <c:showLegendKey val="0"/>
          <c:showVal val="0"/>
          <c:showCatName val="0"/>
          <c:showSerName val="0"/>
          <c:showPercent val="0"/>
          <c:showBubbleSize val="0"/>
        </c:dLbls>
        <c:axId val="889562192"/>
        <c:axId val="889562608"/>
      </c:scatterChart>
      <c:valAx>
        <c:axId val="88956219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l-NL"/>
                  <a:t>Purchase price</a:t>
                </a:r>
              </a:p>
            </c:rich>
          </c:tx>
          <c:layout>
            <c:manualLayout>
              <c:xMode val="edge"/>
              <c:yMode val="edge"/>
              <c:x val="0.4279715303827365"/>
              <c:y val="0.917207161185388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NL"/>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889562608"/>
        <c:crosses val="autoZero"/>
        <c:crossBetween val="midCat"/>
      </c:valAx>
      <c:valAx>
        <c:axId val="88956260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nl-NL"/>
                  <a:t>Treasury yield</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NL"/>
            </a:p>
          </c:txPr>
        </c:title>
        <c:numFmt formatCode="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889562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or slides'!$D$58</c:f>
              <c:strCache>
                <c:ptCount val="1"/>
                <c:pt idx="0">
                  <c:v>Assets avg. Int. rate</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for slides'!$C$59:$C$68</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for slides'!$D$59:$D$68</c:f>
              <c:numCache>
                <c:formatCode>0.0%</c:formatCode>
                <c:ptCount val="10"/>
                <c:pt idx="0">
                  <c:v>0.06</c:v>
                </c:pt>
                <c:pt idx="1">
                  <c:v>0.06</c:v>
                </c:pt>
                <c:pt idx="2">
                  <c:v>6.3E-2</c:v>
                </c:pt>
                <c:pt idx="3">
                  <c:v>6.6000000000000003E-2</c:v>
                </c:pt>
                <c:pt idx="4">
                  <c:v>6.9000000000000006E-2</c:v>
                </c:pt>
                <c:pt idx="5">
                  <c:v>7.2000000000000008E-2</c:v>
                </c:pt>
                <c:pt idx="6">
                  <c:v>7.5000000000000011E-2</c:v>
                </c:pt>
                <c:pt idx="7">
                  <c:v>7.8000000000000014E-2</c:v>
                </c:pt>
                <c:pt idx="8">
                  <c:v>8.1000000000000016E-2</c:v>
                </c:pt>
                <c:pt idx="9">
                  <c:v>8.4000000000000019E-2</c:v>
                </c:pt>
              </c:numCache>
            </c:numRef>
          </c:val>
          <c:smooth val="0"/>
          <c:extLst>
            <c:ext xmlns:c16="http://schemas.microsoft.com/office/drawing/2014/chart" uri="{C3380CC4-5D6E-409C-BE32-E72D297353CC}">
              <c16:uniqueId val="{00000000-E689-4330-BB52-E870E3247F43}"/>
            </c:ext>
          </c:extLst>
        </c:ser>
        <c:ser>
          <c:idx val="1"/>
          <c:order val="1"/>
          <c:tx>
            <c:strRef>
              <c:f>'for slides'!$E$58</c:f>
              <c:strCache>
                <c:ptCount val="1"/>
                <c:pt idx="0">
                  <c:v>Liabilities avg. Int. rat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for slides'!$C$59:$C$68</c:f>
              <c:numCache>
                <c:formatCode>General</c:formatCode>
                <c:ptCount val="10"/>
                <c:pt idx="0">
                  <c:v>1</c:v>
                </c:pt>
                <c:pt idx="1">
                  <c:v>2</c:v>
                </c:pt>
                <c:pt idx="2">
                  <c:v>3</c:v>
                </c:pt>
                <c:pt idx="3">
                  <c:v>4</c:v>
                </c:pt>
                <c:pt idx="4">
                  <c:v>5</c:v>
                </c:pt>
                <c:pt idx="5">
                  <c:v>6</c:v>
                </c:pt>
                <c:pt idx="6">
                  <c:v>7</c:v>
                </c:pt>
                <c:pt idx="7">
                  <c:v>8</c:v>
                </c:pt>
                <c:pt idx="8">
                  <c:v>9</c:v>
                </c:pt>
                <c:pt idx="9">
                  <c:v>10</c:v>
                </c:pt>
              </c:numCache>
            </c:numRef>
          </c:cat>
          <c:val>
            <c:numRef>
              <c:f>'for slides'!$E$59:$E$68</c:f>
              <c:numCache>
                <c:formatCode>0.0%</c:formatCode>
                <c:ptCount val="10"/>
                <c:pt idx="0">
                  <c:v>0.03</c:v>
                </c:pt>
                <c:pt idx="1">
                  <c:v>0.03</c:v>
                </c:pt>
                <c:pt idx="2">
                  <c:v>4.1999999999999996E-2</c:v>
                </c:pt>
                <c:pt idx="3">
                  <c:v>5.3999999999999992E-2</c:v>
                </c:pt>
                <c:pt idx="4">
                  <c:v>6.5999999999999989E-2</c:v>
                </c:pt>
                <c:pt idx="5">
                  <c:v>7.7999999999999986E-2</c:v>
                </c:pt>
                <c:pt idx="6">
                  <c:v>7.7999999999999986E-2</c:v>
                </c:pt>
                <c:pt idx="7">
                  <c:v>7.7999999999999986E-2</c:v>
                </c:pt>
                <c:pt idx="8">
                  <c:v>7.7999999999999986E-2</c:v>
                </c:pt>
                <c:pt idx="9">
                  <c:v>7.7999999999999986E-2</c:v>
                </c:pt>
              </c:numCache>
            </c:numRef>
          </c:val>
          <c:smooth val="0"/>
          <c:extLst>
            <c:ext xmlns:c16="http://schemas.microsoft.com/office/drawing/2014/chart" uri="{C3380CC4-5D6E-409C-BE32-E72D297353CC}">
              <c16:uniqueId val="{00000001-E689-4330-BB52-E870E3247F43}"/>
            </c:ext>
          </c:extLst>
        </c:ser>
        <c:dLbls>
          <c:showLegendKey val="0"/>
          <c:showVal val="0"/>
          <c:showCatName val="0"/>
          <c:showSerName val="0"/>
          <c:showPercent val="0"/>
          <c:showBubbleSize val="0"/>
        </c:dLbls>
        <c:marker val="1"/>
        <c:smooth val="0"/>
        <c:axId val="785309887"/>
        <c:axId val="785303647"/>
      </c:lineChart>
      <c:catAx>
        <c:axId val="785309887"/>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nl-NL" dirty="0" err="1"/>
                  <a:t>months</a:t>
                </a:r>
                <a:r>
                  <a:rPr lang="nl-NL" baseline="0" dirty="0"/>
                  <a:t> </a:t>
                </a:r>
                <a:r>
                  <a:rPr lang="nl-NL" baseline="0" dirty="0" err="1"/>
                  <a:t>after</a:t>
                </a:r>
                <a:r>
                  <a:rPr lang="nl-NL" baseline="0" dirty="0"/>
                  <a:t> int </a:t>
                </a:r>
                <a:r>
                  <a:rPr lang="nl-NL" baseline="0" dirty="0" err="1"/>
                  <a:t>rate</a:t>
                </a:r>
                <a:r>
                  <a:rPr lang="nl-NL" baseline="0" dirty="0"/>
                  <a:t> shift</a:t>
                </a:r>
                <a:endParaRPr lang="nl-NL" dirty="0"/>
              </a:p>
            </c:rich>
          </c:tx>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NL"/>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NL"/>
          </a:p>
        </c:txPr>
        <c:crossAx val="785303647"/>
        <c:crosses val="autoZero"/>
        <c:auto val="1"/>
        <c:lblAlgn val="ctr"/>
        <c:lblOffset val="100"/>
        <c:noMultiLvlLbl val="0"/>
      </c:catAx>
      <c:valAx>
        <c:axId val="785303647"/>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NL"/>
          </a:p>
        </c:txPr>
        <c:crossAx val="7853098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344925634295712E-2"/>
          <c:y val="4.7774158523344191E-2"/>
          <c:w val="0.88254396325459317"/>
          <c:h val="0.61023316069728395"/>
        </c:manualLayout>
      </c:layout>
      <c:barChart>
        <c:barDir val="col"/>
        <c:grouping val="clustered"/>
        <c:varyColors val="0"/>
        <c:ser>
          <c:idx val="0"/>
          <c:order val="0"/>
          <c:tx>
            <c:strRef>
              <c:f>Лист5!$C$23</c:f>
              <c:strCache>
                <c:ptCount val="1"/>
                <c:pt idx="0">
                  <c:v>Ass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5!$B$24:$B$29</c:f>
              <c:strCache>
                <c:ptCount val="6"/>
                <c:pt idx="0">
                  <c:v>3 m</c:v>
                </c:pt>
                <c:pt idx="1">
                  <c:v>6 m</c:v>
                </c:pt>
                <c:pt idx="2">
                  <c:v>1 y</c:v>
                </c:pt>
                <c:pt idx="3">
                  <c:v>2 y</c:v>
                </c:pt>
                <c:pt idx="4">
                  <c:v>3 y</c:v>
                </c:pt>
                <c:pt idx="5">
                  <c:v>5 y</c:v>
                </c:pt>
              </c:strCache>
            </c:strRef>
          </c:cat>
          <c:val>
            <c:numRef>
              <c:f>Лист5!$C$24:$C$29</c:f>
              <c:numCache>
                <c:formatCode>General</c:formatCode>
                <c:ptCount val="6"/>
                <c:pt idx="5">
                  <c:v>100</c:v>
                </c:pt>
              </c:numCache>
            </c:numRef>
          </c:val>
          <c:extLst>
            <c:ext xmlns:c16="http://schemas.microsoft.com/office/drawing/2014/chart" uri="{C3380CC4-5D6E-409C-BE32-E72D297353CC}">
              <c16:uniqueId val="{00000000-F5BD-4C0A-A136-45E18D345473}"/>
            </c:ext>
          </c:extLst>
        </c:ser>
        <c:ser>
          <c:idx val="1"/>
          <c:order val="1"/>
          <c:tx>
            <c:strRef>
              <c:f>Лист5!$D$23</c:f>
              <c:strCache>
                <c:ptCount val="1"/>
                <c:pt idx="0">
                  <c:v>Liability</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5!$B$24:$B$29</c:f>
              <c:strCache>
                <c:ptCount val="6"/>
                <c:pt idx="0">
                  <c:v>3 m</c:v>
                </c:pt>
                <c:pt idx="1">
                  <c:v>6 m</c:v>
                </c:pt>
                <c:pt idx="2">
                  <c:v>1 y</c:v>
                </c:pt>
                <c:pt idx="3">
                  <c:v>2 y</c:v>
                </c:pt>
                <c:pt idx="4">
                  <c:v>3 y</c:v>
                </c:pt>
                <c:pt idx="5">
                  <c:v>5 y</c:v>
                </c:pt>
              </c:strCache>
            </c:strRef>
          </c:cat>
          <c:val>
            <c:numRef>
              <c:f>Лист5!$D$24:$D$29</c:f>
              <c:numCache>
                <c:formatCode>General</c:formatCode>
                <c:ptCount val="6"/>
                <c:pt idx="2">
                  <c:v>-100</c:v>
                </c:pt>
              </c:numCache>
            </c:numRef>
          </c:val>
          <c:extLst>
            <c:ext xmlns:c16="http://schemas.microsoft.com/office/drawing/2014/chart" uri="{C3380CC4-5D6E-409C-BE32-E72D297353CC}">
              <c16:uniqueId val="{00000001-F5BD-4C0A-A136-45E18D345473}"/>
            </c:ext>
          </c:extLst>
        </c:ser>
        <c:dLbls>
          <c:showLegendKey val="0"/>
          <c:showVal val="1"/>
          <c:showCatName val="0"/>
          <c:showSerName val="0"/>
          <c:showPercent val="0"/>
          <c:showBubbleSize val="0"/>
        </c:dLbls>
        <c:gapWidth val="75"/>
        <c:axId val="1460832383"/>
        <c:axId val="1460832799"/>
      </c:barChart>
      <c:catAx>
        <c:axId val="146083238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1460832799"/>
        <c:crosses val="autoZero"/>
        <c:auto val="1"/>
        <c:lblAlgn val="ctr"/>
        <c:lblOffset val="100"/>
        <c:noMultiLvlLbl val="0"/>
      </c:catAx>
      <c:valAx>
        <c:axId val="1460832799"/>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146083238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5!$C$41</c:f>
              <c:strCache>
                <c:ptCount val="1"/>
                <c:pt idx="0">
                  <c:v>Normal curve</c:v>
                </c:pt>
              </c:strCache>
            </c:strRef>
          </c:tx>
          <c:spPr>
            <a:ln w="28575" cap="rnd">
              <a:solidFill>
                <a:srgbClr val="00B050"/>
              </a:solidFill>
              <a:round/>
            </a:ln>
            <a:effectLst/>
          </c:spPr>
          <c:marker>
            <c:symbol val="circle"/>
            <c:size val="5"/>
            <c:spPr>
              <a:solidFill>
                <a:srgbClr val="00B050"/>
              </a:solidFill>
              <a:ln w="9525">
                <a:solidFill>
                  <a:srgbClr val="00B050"/>
                </a:solidFill>
              </a:ln>
              <a:effectLst/>
            </c:spPr>
          </c:marker>
          <c:dLbls>
            <c:dLbl>
              <c:idx val="3"/>
              <c:layout>
                <c:manualLayout>
                  <c:x val="-3.8945678865830995E-2"/>
                  <c:y val="2.54975940507436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766-49A6-991C-9EE1E99DAC5D}"/>
                </c:ext>
              </c:extLst>
            </c:dLbl>
            <c:dLbl>
              <c:idx val="4"/>
              <c:layout>
                <c:manualLayout>
                  <c:x val="-4.5945043779098575E-2"/>
                  <c:y val="6.253463108778069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766-49A6-991C-9EE1E99DAC5D}"/>
                </c:ext>
              </c:extLst>
            </c:dLbl>
            <c:dLbl>
              <c:idx val="5"/>
              <c:layout>
                <c:manualLayout>
                  <c:x val="-5.2944408692366322E-2"/>
                  <c:y val="7.17938903470399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766-49A6-991C-9EE1E99DAC5D}"/>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B05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5!$B$42:$B$47</c:f>
              <c:strCache>
                <c:ptCount val="6"/>
                <c:pt idx="0">
                  <c:v>3 m</c:v>
                </c:pt>
                <c:pt idx="1">
                  <c:v>6 m</c:v>
                </c:pt>
                <c:pt idx="2">
                  <c:v>1 y</c:v>
                </c:pt>
                <c:pt idx="3">
                  <c:v>2 y</c:v>
                </c:pt>
                <c:pt idx="4">
                  <c:v>3 y</c:v>
                </c:pt>
                <c:pt idx="5">
                  <c:v>5 y</c:v>
                </c:pt>
              </c:strCache>
            </c:strRef>
          </c:cat>
          <c:val>
            <c:numRef>
              <c:f>Лист5!$C$42:$C$47</c:f>
              <c:numCache>
                <c:formatCode>0.00%</c:formatCode>
                <c:ptCount val="6"/>
                <c:pt idx="0">
                  <c:v>4.4999999999999998E-2</c:v>
                </c:pt>
                <c:pt idx="1">
                  <c:v>0.05</c:v>
                </c:pt>
                <c:pt idx="2">
                  <c:v>5.2999999999999999E-2</c:v>
                </c:pt>
                <c:pt idx="3">
                  <c:v>5.6500000000000002E-2</c:v>
                </c:pt>
                <c:pt idx="4">
                  <c:v>6.5000000000000002E-2</c:v>
                </c:pt>
                <c:pt idx="5">
                  <c:v>6.2E-2</c:v>
                </c:pt>
              </c:numCache>
            </c:numRef>
          </c:val>
          <c:smooth val="0"/>
          <c:extLst>
            <c:ext xmlns:c16="http://schemas.microsoft.com/office/drawing/2014/chart" uri="{C3380CC4-5D6E-409C-BE32-E72D297353CC}">
              <c16:uniqueId val="{00000000-1766-49A6-991C-9EE1E99DAC5D}"/>
            </c:ext>
          </c:extLst>
        </c:ser>
        <c:ser>
          <c:idx val="1"/>
          <c:order val="1"/>
          <c:tx>
            <c:strRef>
              <c:f>Лист5!$D$41</c:f>
              <c:strCache>
                <c:ptCount val="1"/>
                <c:pt idx="0">
                  <c:v>Inversive curv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FF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Лист5!$B$42:$B$47</c:f>
              <c:strCache>
                <c:ptCount val="6"/>
                <c:pt idx="0">
                  <c:v>3 m</c:v>
                </c:pt>
                <c:pt idx="1">
                  <c:v>6 m</c:v>
                </c:pt>
                <c:pt idx="2">
                  <c:v>1 y</c:v>
                </c:pt>
                <c:pt idx="3">
                  <c:v>2 y</c:v>
                </c:pt>
                <c:pt idx="4">
                  <c:v>3 y</c:v>
                </c:pt>
                <c:pt idx="5">
                  <c:v>5 y</c:v>
                </c:pt>
              </c:strCache>
            </c:strRef>
          </c:cat>
          <c:val>
            <c:numRef>
              <c:f>Лист5!$D$42:$D$47</c:f>
              <c:numCache>
                <c:formatCode>0.00%</c:formatCode>
                <c:ptCount val="6"/>
                <c:pt idx="0">
                  <c:v>0.08</c:v>
                </c:pt>
                <c:pt idx="1">
                  <c:v>7.5999999999999998E-2</c:v>
                </c:pt>
                <c:pt idx="2">
                  <c:v>6.8000000000000005E-2</c:v>
                </c:pt>
                <c:pt idx="3">
                  <c:v>5.8999999999999997E-2</c:v>
                </c:pt>
                <c:pt idx="4">
                  <c:v>6.5000000000000002E-2</c:v>
                </c:pt>
                <c:pt idx="5">
                  <c:v>6.2E-2</c:v>
                </c:pt>
              </c:numCache>
            </c:numRef>
          </c:val>
          <c:smooth val="0"/>
          <c:extLst>
            <c:ext xmlns:c16="http://schemas.microsoft.com/office/drawing/2014/chart" uri="{C3380CC4-5D6E-409C-BE32-E72D297353CC}">
              <c16:uniqueId val="{00000001-1766-49A6-991C-9EE1E99DAC5D}"/>
            </c:ext>
          </c:extLst>
        </c:ser>
        <c:dLbls>
          <c:dLblPos val="t"/>
          <c:showLegendKey val="0"/>
          <c:showVal val="1"/>
          <c:showCatName val="0"/>
          <c:showSerName val="0"/>
          <c:showPercent val="0"/>
          <c:showBubbleSize val="0"/>
        </c:dLbls>
        <c:marker val="1"/>
        <c:smooth val="0"/>
        <c:axId val="1791756447"/>
        <c:axId val="1791757695"/>
      </c:lineChart>
      <c:catAx>
        <c:axId val="1791756447"/>
        <c:scaling>
          <c:orientation val="minMax"/>
        </c:scaling>
        <c:delete val="0"/>
        <c:axPos val="b"/>
        <c:numFmt formatCode="General" sourceLinked="1"/>
        <c:majorTickMark val="none"/>
        <c:minorTickMark val="none"/>
        <c:tickLblPos val="nextTo"/>
        <c:spPr>
          <a:noFill/>
          <a:ln w="25400" cap="flat" cmpd="sng" algn="ctr">
            <a:no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1791757695"/>
        <c:crosses val="autoZero"/>
        <c:auto val="1"/>
        <c:lblAlgn val="ctr"/>
        <c:lblOffset val="100"/>
        <c:noMultiLvlLbl val="0"/>
      </c:catAx>
      <c:valAx>
        <c:axId val="1791757695"/>
        <c:scaling>
          <c:orientation val="minMax"/>
        </c:scaling>
        <c:delete val="1"/>
        <c:axPos val="l"/>
        <c:numFmt formatCode="0.00%" sourceLinked="1"/>
        <c:majorTickMark val="none"/>
        <c:minorTickMark val="none"/>
        <c:tickLblPos val="nextTo"/>
        <c:crossAx val="179175644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Treasury Yield_fact_graphs'!$F$3</c:f>
              <c:strCache>
                <c:ptCount val="1"/>
                <c:pt idx="0">
                  <c:v>16.09.2022</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70C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easury Yield_fact_graphs'!$B$4:$B$15</c:f>
              <c:strCache>
                <c:ptCount val="12"/>
                <c:pt idx="0">
                  <c:v>0.25Y</c:v>
                </c:pt>
                <c:pt idx="1">
                  <c:v>0.5Y</c:v>
                </c:pt>
                <c:pt idx="2">
                  <c:v>0.75Y</c:v>
                </c:pt>
                <c:pt idx="3">
                  <c:v>1Y</c:v>
                </c:pt>
                <c:pt idx="4">
                  <c:v>2Y</c:v>
                </c:pt>
                <c:pt idx="5">
                  <c:v>3Y</c:v>
                </c:pt>
                <c:pt idx="6">
                  <c:v>5Y</c:v>
                </c:pt>
                <c:pt idx="7">
                  <c:v>7Y</c:v>
                </c:pt>
                <c:pt idx="8">
                  <c:v>10Y</c:v>
                </c:pt>
                <c:pt idx="9">
                  <c:v>15Y</c:v>
                </c:pt>
                <c:pt idx="10">
                  <c:v>20Y</c:v>
                </c:pt>
                <c:pt idx="11">
                  <c:v>30Y</c:v>
                </c:pt>
              </c:strCache>
            </c:strRef>
          </c:cat>
          <c:val>
            <c:numRef>
              <c:f>'Treasury Yield_fact_graphs'!$F$4:$F$15</c:f>
              <c:numCache>
                <c:formatCode>General</c:formatCode>
                <c:ptCount val="12"/>
                <c:pt idx="0">
                  <c:v>7.44</c:v>
                </c:pt>
                <c:pt idx="1">
                  <c:v>7.4</c:v>
                </c:pt>
                <c:pt idx="2">
                  <c:v>7.39</c:v>
                </c:pt>
                <c:pt idx="3">
                  <c:v>7.4</c:v>
                </c:pt>
                <c:pt idx="4">
                  <c:v>7.6</c:v>
                </c:pt>
                <c:pt idx="5">
                  <c:v>7.89</c:v>
                </c:pt>
                <c:pt idx="6">
                  <c:v>8.4700000000000006</c:v>
                </c:pt>
                <c:pt idx="7">
                  <c:v>8.8800000000000008</c:v>
                </c:pt>
                <c:pt idx="8">
                  <c:v>9.2100000000000009</c:v>
                </c:pt>
                <c:pt idx="9">
                  <c:v>9.42</c:v>
                </c:pt>
                <c:pt idx="10">
                  <c:v>9.52</c:v>
                </c:pt>
                <c:pt idx="11">
                  <c:v>9.65</c:v>
                </c:pt>
              </c:numCache>
            </c:numRef>
          </c:val>
          <c:smooth val="0"/>
          <c:extLst>
            <c:ext xmlns:c16="http://schemas.microsoft.com/office/drawing/2014/chart" uri="{C3380CC4-5D6E-409C-BE32-E72D297353CC}">
              <c16:uniqueId val="{00000000-D2E8-41F2-803E-FB9458CBEC6E}"/>
            </c:ext>
          </c:extLst>
        </c:ser>
        <c:ser>
          <c:idx val="1"/>
          <c:order val="1"/>
          <c:tx>
            <c:strRef>
              <c:f>'Treasury Yield_fact_graphs'!$G$3</c:f>
              <c:strCache>
                <c:ptCount val="1"/>
                <c:pt idx="0">
                  <c:v>16.09.2022 - parralel risk +0.5%</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lumMod val="50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easury Yield_fact_graphs'!$B$4:$B$15</c:f>
              <c:strCache>
                <c:ptCount val="12"/>
                <c:pt idx="0">
                  <c:v>0.25Y</c:v>
                </c:pt>
                <c:pt idx="1">
                  <c:v>0.5Y</c:v>
                </c:pt>
                <c:pt idx="2">
                  <c:v>0.75Y</c:v>
                </c:pt>
                <c:pt idx="3">
                  <c:v>1Y</c:v>
                </c:pt>
                <c:pt idx="4">
                  <c:v>2Y</c:v>
                </c:pt>
                <c:pt idx="5">
                  <c:v>3Y</c:v>
                </c:pt>
                <c:pt idx="6">
                  <c:v>5Y</c:v>
                </c:pt>
                <c:pt idx="7">
                  <c:v>7Y</c:v>
                </c:pt>
                <c:pt idx="8">
                  <c:v>10Y</c:v>
                </c:pt>
                <c:pt idx="9">
                  <c:v>15Y</c:v>
                </c:pt>
                <c:pt idx="10">
                  <c:v>20Y</c:v>
                </c:pt>
                <c:pt idx="11">
                  <c:v>30Y</c:v>
                </c:pt>
              </c:strCache>
            </c:strRef>
          </c:cat>
          <c:val>
            <c:numRef>
              <c:f>'Treasury Yield_fact_graphs'!$G$4:$G$15</c:f>
              <c:numCache>
                <c:formatCode>General</c:formatCode>
                <c:ptCount val="12"/>
                <c:pt idx="0">
                  <c:v>7.94</c:v>
                </c:pt>
                <c:pt idx="1">
                  <c:v>7.9</c:v>
                </c:pt>
                <c:pt idx="2">
                  <c:v>7.89</c:v>
                </c:pt>
                <c:pt idx="3">
                  <c:v>7.9</c:v>
                </c:pt>
                <c:pt idx="4">
                  <c:v>8.1</c:v>
                </c:pt>
                <c:pt idx="5">
                  <c:v>8.39</c:v>
                </c:pt>
                <c:pt idx="6">
                  <c:v>8.9700000000000006</c:v>
                </c:pt>
                <c:pt idx="7">
                  <c:v>9.3800000000000008</c:v>
                </c:pt>
                <c:pt idx="8">
                  <c:v>9.7100000000000009</c:v>
                </c:pt>
                <c:pt idx="9">
                  <c:v>9.92</c:v>
                </c:pt>
                <c:pt idx="10">
                  <c:v>10.02</c:v>
                </c:pt>
                <c:pt idx="11">
                  <c:v>10.15</c:v>
                </c:pt>
              </c:numCache>
            </c:numRef>
          </c:val>
          <c:smooth val="0"/>
          <c:extLst>
            <c:ext xmlns:c16="http://schemas.microsoft.com/office/drawing/2014/chart" uri="{C3380CC4-5D6E-409C-BE32-E72D297353CC}">
              <c16:uniqueId val="{00000001-D2E8-41F2-803E-FB9458CBEC6E}"/>
            </c:ext>
          </c:extLst>
        </c:ser>
        <c:ser>
          <c:idx val="2"/>
          <c:order val="2"/>
          <c:tx>
            <c:strRef>
              <c:f>'Treasury Yield_fact_graphs'!$H$3</c:f>
              <c:strCache>
                <c:ptCount val="1"/>
                <c:pt idx="0">
                  <c:v>16.09.2022 - non paralell risk (shock of 24 feb 2022)</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lumMod val="50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reasury Yield_fact_graphs'!$B$4:$B$15</c:f>
              <c:strCache>
                <c:ptCount val="12"/>
                <c:pt idx="0">
                  <c:v>0.25Y</c:v>
                </c:pt>
                <c:pt idx="1">
                  <c:v>0.5Y</c:v>
                </c:pt>
                <c:pt idx="2">
                  <c:v>0.75Y</c:v>
                </c:pt>
                <c:pt idx="3">
                  <c:v>1Y</c:v>
                </c:pt>
                <c:pt idx="4">
                  <c:v>2Y</c:v>
                </c:pt>
                <c:pt idx="5">
                  <c:v>3Y</c:v>
                </c:pt>
                <c:pt idx="6">
                  <c:v>5Y</c:v>
                </c:pt>
                <c:pt idx="7">
                  <c:v>7Y</c:v>
                </c:pt>
                <c:pt idx="8">
                  <c:v>10Y</c:v>
                </c:pt>
                <c:pt idx="9">
                  <c:v>15Y</c:v>
                </c:pt>
                <c:pt idx="10">
                  <c:v>20Y</c:v>
                </c:pt>
                <c:pt idx="11">
                  <c:v>30Y</c:v>
                </c:pt>
              </c:strCache>
            </c:strRef>
          </c:cat>
          <c:val>
            <c:numRef>
              <c:f>'Treasury Yield_fact_graphs'!$H$4:$H$15</c:f>
              <c:numCache>
                <c:formatCode>_(* #,##0.00_);_(* \(#,##0.00\);_(* "-"??_);_(@_)</c:formatCode>
                <c:ptCount val="12"/>
                <c:pt idx="0">
                  <c:v>11.695218150087259</c:v>
                </c:pt>
                <c:pt idx="1">
                  <c:v>11.512216404886562</c:v>
                </c:pt>
                <c:pt idx="2">
                  <c:v>11.376759825327513</c:v>
                </c:pt>
                <c:pt idx="3">
                  <c:v>11.263024475524475</c:v>
                </c:pt>
                <c:pt idx="4">
                  <c:v>11.185714285714285</c:v>
                </c:pt>
                <c:pt idx="5">
                  <c:v>11.440231111111112</c:v>
                </c:pt>
                <c:pt idx="6">
                  <c:v>12.0892972972973</c:v>
                </c:pt>
                <c:pt idx="7">
                  <c:v>12.289854014598539</c:v>
                </c:pt>
                <c:pt idx="8">
                  <c:v>11.853766233766237</c:v>
                </c:pt>
                <c:pt idx="9">
                  <c:v>11.193956562795089</c:v>
                </c:pt>
                <c:pt idx="10">
                  <c:v>10.812812202097236</c:v>
                </c:pt>
                <c:pt idx="11">
                  <c:v>10.413763233878731</c:v>
                </c:pt>
              </c:numCache>
            </c:numRef>
          </c:val>
          <c:smooth val="0"/>
          <c:extLst>
            <c:ext xmlns:c16="http://schemas.microsoft.com/office/drawing/2014/chart" uri="{C3380CC4-5D6E-409C-BE32-E72D297353CC}">
              <c16:uniqueId val="{00000002-D2E8-41F2-803E-FB9458CBEC6E}"/>
            </c:ext>
          </c:extLst>
        </c:ser>
        <c:dLbls>
          <c:dLblPos val="t"/>
          <c:showLegendKey val="0"/>
          <c:showVal val="1"/>
          <c:showCatName val="0"/>
          <c:showSerName val="0"/>
          <c:showPercent val="0"/>
          <c:showBubbleSize val="0"/>
        </c:dLbls>
        <c:marker val="1"/>
        <c:smooth val="0"/>
        <c:axId val="1203601784"/>
        <c:axId val="1203602112"/>
      </c:lineChart>
      <c:catAx>
        <c:axId val="1203601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1203602112"/>
        <c:crosses val="autoZero"/>
        <c:auto val="1"/>
        <c:lblAlgn val="ctr"/>
        <c:lblOffset val="100"/>
        <c:noMultiLvlLbl val="0"/>
      </c:catAx>
      <c:valAx>
        <c:axId val="1203602112"/>
        <c:scaling>
          <c:orientation val="minMax"/>
        </c:scaling>
        <c:delete val="1"/>
        <c:axPos val="l"/>
        <c:numFmt formatCode="General" sourceLinked="1"/>
        <c:majorTickMark val="none"/>
        <c:minorTickMark val="none"/>
        <c:tickLblPos val="nextTo"/>
        <c:crossAx val="1203601784"/>
        <c:crossesAt val="0"/>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legend>
    <c:plotVisOnly val="1"/>
    <c:dispBlanksAs val="gap"/>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851533133302845"/>
          <c:y val="2.0065385904489291E-2"/>
          <c:w val="0.91466381011562481"/>
          <c:h val="0.80685032437096571"/>
        </c:manualLayout>
      </c:layout>
      <c:barChart>
        <c:barDir val="col"/>
        <c:grouping val="clustered"/>
        <c:varyColors val="0"/>
        <c:ser>
          <c:idx val="0"/>
          <c:order val="0"/>
          <c:tx>
            <c:strRef>
              <c:f>'Interest rate sensitivity'!$C$79</c:f>
              <c:strCache>
                <c:ptCount val="1"/>
                <c:pt idx="0">
                  <c:v>Interest rate gap</c:v>
                </c:pt>
              </c:strCache>
            </c:strRef>
          </c:tx>
          <c:spPr>
            <a:solidFill>
              <a:schemeClr val="accent1"/>
            </a:solidFill>
            <a:ln>
              <a:noFill/>
            </a:ln>
            <a:effectLst/>
          </c:spPr>
          <c:invertIfNegative val="0"/>
          <c:dLbls>
            <c:dLbl>
              <c:idx val="5"/>
              <c:layout>
                <c:manualLayout>
                  <c:x val="-9.3298319139784754E-17"/>
                  <c:y val="9.89956734722097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5D2-4FDA-A379-9556573423A9}"/>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terest rate sensitivity'!$D$69:$M$69</c:f>
              <c:strCache>
                <c:ptCount val="10"/>
                <c:pt idx="0">
                  <c:v>up to 1m</c:v>
                </c:pt>
                <c:pt idx="1">
                  <c:v>1-3 m</c:v>
                </c:pt>
                <c:pt idx="2">
                  <c:v>3-6 m</c:v>
                </c:pt>
                <c:pt idx="3">
                  <c:v>6-9 m</c:v>
                </c:pt>
                <c:pt idx="4">
                  <c:v>9-12 m</c:v>
                </c:pt>
                <c:pt idx="5">
                  <c:v>1-3 y</c:v>
                </c:pt>
                <c:pt idx="6">
                  <c:v>3-5 y</c:v>
                </c:pt>
                <c:pt idx="7">
                  <c:v>5-7 y</c:v>
                </c:pt>
                <c:pt idx="8">
                  <c:v>7-10 y</c:v>
                </c:pt>
                <c:pt idx="9">
                  <c:v>not sensitive</c:v>
                </c:pt>
              </c:strCache>
            </c:strRef>
          </c:cat>
          <c:val>
            <c:numRef>
              <c:f>'Interest rate sensitivity'!$D$79:$M$79</c:f>
              <c:numCache>
                <c:formatCode>_-* #,##0.0_-;\-* #,##0.0_-;_-* "-"??_-;_-@_-</c:formatCode>
                <c:ptCount val="10"/>
                <c:pt idx="0">
                  <c:v>162.89930086358669</c:v>
                </c:pt>
                <c:pt idx="1">
                  <c:v>-4669.9500339746828</c:v>
                </c:pt>
                <c:pt idx="2">
                  <c:v>505.97129168887943</c:v>
                </c:pt>
                <c:pt idx="3">
                  <c:v>519.48777192662067</c:v>
                </c:pt>
                <c:pt idx="4">
                  <c:v>533.51748242276403</c:v>
                </c:pt>
                <c:pt idx="5">
                  <c:v>-158.41678407502059</c:v>
                </c:pt>
                <c:pt idx="6">
                  <c:v>6106.4909711477931</c:v>
                </c:pt>
                <c:pt idx="7">
                  <c:v>1200</c:v>
                </c:pt>
                <c:pt idx="8">
                  <c:v>1800</c:v>
                </c:pt>
                <c:pt idx="9">
                  <c:v>-6000</c:v>
                </c:pt>
              </c:numCache>
            </c:numRef>
          </c:val>
          <c:extLst>
            <c:ext xmlns:c16="http://schemas.microsoft.com/office/drawing/2014/chart" uri="{C3380CC4-5D6E-409C-BE32-E72D297353CC}">
              <c16:uniqueId val="{00000001-F5D2-4FDA-A379-9556573423A9}"/>
            </c:ext>
          </c:extLst>
        </c:ser>
        <c:dLbls>
          <c:showLegendKey val="0"/>
          <c:showVal val="0"/>
          <c:showCatName val="0"/>
          <c:showSerName val="0"/>
          <c:showPercent val="0"/>
          <c:showBubbleSize val="0"/>
        </c:dLbls>
        <c:gapWidth val="150"/>
        <c:axId val="1589800768"/>
        <c:axId val="1589791200"/>
      </c:barChart>
      <c:lineChart>
        <c:grouping val="standard"/>
        <c:varyColors val="0"/>
        <c:ser>
          <c:idx val="1"/>
          <c:order val="1"/>
          <c:tx>
            <c:strRef>
              <c:f>'Interest rate sensitivity'!$C$80</c:f>
              <c:strCache>
                <c:ptCount val="1"/>
                <c:pt idx="0">
                  <c:v>Cumulutive interest rate gap</c:v>
                </c:pt>
              </c:strCache>
            </c:strRef>
          </c:tx>
          <c:spPr>
            <a:ln w="19050" cap="rnd">
              <a:solidFill>
                <a:schemeClr val="accent2"/>
              </a:solidFill>
              <a:round/>
            </a:ln>
            <a:effectLst/>
          </c:spPr>
          <c:marker>
            <c:symbol val="none"/>
          </c:marker>
          <c:cat>
            <c:strRef>
              <c:f>'Interest rate sensitivity'!$D$69:$M$69</c:f>
              <c:strCache>
                <c:ptCount val="10"/>
                <c:pt idx="0">
                  <c:v>up to 1m</c:v>
                </c:pt>
                <c:pt idx="1">
                  <c:v>1-3 m</c:v>
                </c:pt>
                <c:pt idx="2">
                  <c:v>3-6 m</c:v>
                </c:pt>
                <c:pt idx="3">
                  <c:v>6-9 m</c:v>
                </c:pt>
                <c:pt idx="4">
                  <c:v>9-12 m</c:v>
                </c:pt>
                <c:pt idx="5">
                  <c:v>1-3 y</c:v>
                </c:pt>
                <c:pt idx="6">
                  <c:v>3-5 y</c:v>
                </c:pt>
                <c:pt idx="7">
                  <c:v>5-7 y</c:v>
                </c:pt>
                <c:pt idx="8">
                  <c:v>7-10 y</c:v>
                </c:pt>
                <c:pt idx="9">
                  <c:v>not sensitive</c:v>
                </c:pt>
              </c:strCache>
            </c:strRef>
          </c:cat>
          <c:val>
            <c:numRef>
              <c:f>'Interest rate sensitivity'!$D$80:$M$80</c:f>
              <c:numCache>
                <c:formatCode>_-* #,##0.0_-;\-* #,##0.0_-;_-* "-"??_-;_-@_-</c:formatCode>
                <c:ptCount val="10"/>
                <c:pt idx="0">
                  <c:v>162.89930086358669</c:v>
                </c:pt>
                <c:pt idx="1">
                  <c:v>-4507.0507331110957</c:v>
                </c:pt>
                <c:pt idx="2">
                  <c:v>-4001.0794414222164</c:v>
                </c:pt>
                <c:pt idx="3">
                  <c:v>-3481.5916694955959</c:v>
                </c:pt>
                <c:pt idx="4">
                  <c:v>-2948.0741870728316</c:v>
                </c:pt>
                <c:pt idx="5">
                  <c:v>-3106.4909711478522</c:v>
                </c:pt>
                <c:pt idx="6">
                  <c:v>2999.9999999999409</c:v>
                </c:pt>
                <c:pt idx="7">
                  <c:v>4199.9999999999409</c:v>
                </c:pt>
                <c:pt idx="8">
                  <c:v>5999.9999999999409</c:v>
                </c:pt>
                <c:pt idx="9">
                  <c:v>-5.9117155615240335E-11</c:v>
                </c:pt>
              </c:numCache>
            </c:numRef>
          </c:val>
          <c:smooth val="0"/>
          <c:extLst>
            <c:ext xmlns:c16="http://schemas.microsoft.com/office/drawing/2014/chart" uri="{C3380CC4-5D6E-409C-BE32-E72D297353CC}">
              <c16:uniqueId val="{00000002-F5D2-4FDA-A379-9556573423A9}"/>
            </c:ext>
          </c:extLst>
        </c:ser>
        <c:dLbls>
          <c:showLegendKey val="0"/>
          <c:showVal val="0"/>
          <c:showCatName val="0"/>
          <c:showSerName val="0"/>
          <c:showPercent val="0"/>
          <c:showBubbleSize val="0"/>
        </c:dLbls>
        <c:marker val="1"/>
        <c:smooth val="0"/>
        <c:axId val="1589800768"/>
        <c:axId val="1589791200"/>
      </c:lineChart>
      <c:catAx>
        <c:axId val="15898007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NL"/>
          </a:p>
        </c:txPr>
        <c:crossAx val="1589791200"/>
        <c:crosses val="autoZero"/>
        <c:auto val="1"/>
        <c:lblAlgn val="ctr"/>
        <c:lblOffset val="100"/>
        <c:noMultiLvlLbl val="0"/>
      </c:catAx>
      <c:valAx>
        <c:axId val="1589791200"/>
        <c:scaling>
          <c:orientation val="minMax"/>
        </c:scaling>
        <c:delete val="1"/>
        <c:axPos val="l"/>
        <c:numFmt formatCode="_-* #,##0.0_-;\-* #,##0.0_-;_-* &quot;-&quot;??_-;_-@_-" sourceLinked="1"/>
        <c:majorTickMark val="none"/>
        <c:minorTickMark val="none"/>
        <c:tickLblPos val="nextTo"/>
        <c:crossAx val="15898007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or slides'!$C$15</c:f>
              <c:strCache>
                <c:ptCount val="1"/>
                <c:pt idx="0">
                  <c:v>Asse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N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r slides'!$D$4:$M$4</c:f>
              <c:strCache>
                <c:ptCount val="10"/>
                <c:pt idx="0">
                  <c:v>up to 1m</c:v>
                </c:pt>
                <c:pt idx="1">
                  <c:v>1-3 m</c:v>
                </c:pt>
                <c:pt idx="2">
                  <c:v>3-6 m</c:v>
                </c:pt>
                <c:pt idx="3">
                  <c:v>6-9 m</c:v>
                </c:pt>
                <c:pt idx="4">
                  <c:v>9-12 m</c:v>
                </c:pt>
                <c:pt idx="5">
                  <c:v>1-3 y</c:v>
                </c:pt>
                <c:pt idx="6">
                  <c:v>3-5 y</c:v>
                </c:pt>
                <c:pt idx="7">
                  <c:v>5-7 y</c:v>
                </c:pt>
                <c:pt idx="8">
                  <c:v>7-10 y</c:v>
                </c:pt>
                <c:pt idx="9">
                  <c:v>not sensitive</c:v>
                </c:pt>
              </c:strCache>
            </c:strRef>
          </c:cat>
          <c:val>
            <c:numRef>
              <c:f>'for slides'!$D$15:$M$15</c:f>
              <c:numCache>
                <c:formatCode>_-* #,##0.0_-;\-* #,##0.0_-;_-* "-"??_-;_-@_-</c:formatCode>
                <c:ptCount val="10"/>
                <c:pt idx="0">
                  <c:v>162.89930086358669</c:v>
                </c:pt>
                <c:pt idx="1">
                  <c:v>10330.049966025317</c:v>
                </c:pt>
                <c:pt idx="2">
                  <c:v>505.97129168887943</c:v>
                </c:pt>
                <c:pt idx="3">
                  <c:v>519.48777192662067</c:v>
                </c:pt>
                <c:pt idx="4">
                  <c:v>533.51748242276403</c:v>
                </c:pt>
                <c:pt idx="5">
                  <c:v>4841.5832159249794</c:v>
                </c:pt>
                <c:pt idx="6">
                  <c:v>6106.4909711477931</c:v>
                </c:pt>
                <c:pt idx="7">
                  <c:v>1200</c:v>
                </c:pt>
                <c:pt idx="8">
                  <c:v>1800</c:v>
                </c:pt>
                <c:pt idx="9">
                  <c:v>10000</c:v>
                </c:pt>
              </c:numCache>
            </c:numRef>
          </c:val>
          <c:extLst>
            <c:ext xmlns:c16="http://schemas.microsoft.com/office/drawing/2014/chart" uri="{C3380CC4-5D6E-409C-BE32-E72D297353CC}">
              <c16:uniqueId val="{00000000-706D-49C2-B2E7-8C4AFA3B0280}"/>
            </c:ext>
          </c:extLst>
        </c:ser>
        <c:ser>
          <c:idx val="1"/>
          <c:order val="1"/>
          <c:tx>
            <c:strRef>
              <c:f>'for slides'!$C$16</c:f>
              <c:strCache>
                <c:ptCount val="1"/>
                <c:pt idx="0">
                  <c:v>Liabilities</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06D-49C2-B2E7-8C4AFA3B0280}"/>
                </c:ext>
              </c:extLst>
            </c:dLbl>
            <c:dLbl>
              <c:idx val="2"/>
              <c:delete val="1"/>
              <c:extLst>
                <c:ext xmlns:c15="http://schemas.microsoft.com/office/drawing/2012/chart" uri="{CE6537A1-D6FC-4f65-9D91-7224C49458BB}"/>
                <c:ext xmlns:c16="http://schemas.microsoft.com/office/drawing/2014/chart" uri="{C3380CC4-5D6E-409C-BE32-E72D297353CC}">
                  <c16:uniqueId val="{00000002-706D-49C2-B2E7-8C4AFA3B0280}"/>
                </c:ext>
              </c:extLst>
            </c:dLbl>
            <c:dLbl>
              <c:idx val="3"/>
              <c:delete val="1"/>
              <c:extLst>
                <c:ext xmlns:c15="http://schemas.microsoft.com/office/drawing/2012/chart" uri="{CE6537A1-D6FC-4f65-9D91-7224C49458BB}"/>
                <c:ext xmlns:c16="http://schemas.microsoft.com/office/drawing/2014/chart" uri="{C3380CC4-5D6E-409C-BE32-E72D297353CC}">
                  <c16:uniqueId val="{00000003-706D-49C2-B2E7-8C4AFA3B0280}"/>
                </c:ext>
              </c:extLst>
            </c:dLbl>
            <c:dLbl>
              <c:idx val="4"/>
              <c:delete val="1"/>
              <c:extLst>
                <c:ext xmlns:c15="http://schemas.microsoft.com/office/drawing/2012/chart" uri="{CE6537A1-D6FC-4f65-9D91-7224C49458BB}"/>
                <c:ext xmlns:c16="http://schemas.microsoft.com/office/drawing/2014/chart" uri="{C3380CC4-5D6E-409C-BE32-E72D297353CC}">
                  <c16:uniqueId val="{00000004-706D-49C2-B2E7-8C4AFA3B0280}"/>
                </c:ext>
              </c:extLst>
            </c:dLbl>
            <c:dLbl>
              <c:idx val="7"/>
              <c:delete val="1"/>
              <c:extLst>
                <c:ext xmlns:c15="http://schemas.microsoft.com/office/drawing/2012/chart" uri="{CE6537A1-D6FC-4f65-9D91-7224C49458BB}"/>
                <c:ext xmlns:c16="http://schemas.microsoft.com/office/drawing/2014/chart" uri="{C3380CC4-5D6E-409C-BE32-E72D297353CC}">
                  <c16:uniqueId val="{00000005-706D-49C2-B2E7-8C4AFA3B0280}"/>
                </c:ext>
              </c:extLst>
            </c:dLbl>
            <c:dLbl>
              <c:idx val="8"/>
              <c:delete val="1"/>
              <c:extLst>
                <c:ext xmlns:c15="http://schemas.microsoft.com/office/drawing/2012/chart" uri="{CE6537A1-D6FC-4f65-9D91-7224C49458BB}"/>
                <c:ext xmlns:c16="http://schemas.microsoft.com/office/drawing/2014/chart" uri="{C3380CC4-5D6E-409C-BE32-E72D297353CC}">
                  <c16:uniqueId val="{00000006-706D-49C2-B2E7-8C4AFA3B0280}"/>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NL"/>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r slides'!$D$4:$M$4</c:f>
              <c:strCache>
                <c:ptCount val="10"/>
                <c:pt idx="0">
                  <c:v>up to 1m</c:v>
                </c:pt>
                <c:pt idx="1">
                  <c:v>1-3 m</c:v>
                </c:pt>
                <c:pt idx="2">
                  <c:v>3-6 m</c:v>
                </c:pt>
                <c:pt idx="3">
                  <c:v>6-9 m</c:v>
                </c:pt>
                <c:pt idx="4">
                  <c:v>9-12 m</c:v>
                </c:pt>
                <c:pt idx="5">
                  <c:v>1-3 y</c:v>
                </c:pt>
                <c:pt idx="6">
                  <c:v>3-5 y</c:v>
                </c:pt>
                <c:pt idx="7">
                  <c:v>5-7 y</c:v>
                </c:pt>
                <c:pt idx="8">
                  <c:v>7-10 y</c:v>
                </c:pt>
                <c:pt idx="9">
                  <c:v>not sensitive</c:v>
                </c:pt>
              </c:strCache>
            </c:strRef>
          </c:cat>
          <c:val>
            <c:numRef>
              <c:f>'for slides'!$D$16:$M$16</c:f>
              <c:numCache>
                <c:formatCode>_-* #,##0.0_-;\-* #,##0.0_-;_-* "-"??_-;_-@_-</c:formatCode>
                <c:ptCount val="10"/>
                <c:pt idx="0">
                  <c:v>0</c:v>
                </c:pt>
                <c:pt idx="1">
                  <c:v>-15000</c:v>
                </c:pt>
                <c:pt idx="2">
                  <c:v>0</c:v>
                </c:pt>
                <c:pt idx="3">
                  <c:v>0</c:v>
                </c:pt>
                <c:pt idx="4">
                  <c:v>0</c:v>
                </c:pt>
                <c:pt idx="5">
                  <c:v>-5000</c:v>
                </c:pt>
                <c:pt idx="6">
                  <c:v>0</c:v>
                </c:pt>
                <c:pt idx="7">
                  <c:v>0</c:v>
                </c:pt>
                <c:pt idx="8">
                  <c:v>0</c:v>
                </c:pt>
                <c:pt idx="9">
                  <c:v>-16000</c:v>
                </c:pt>
              </c:numCache>
            </c:numRef>
          </c:val>
          <c:extLst>
            <c:ext xmlns:c16="http://schemas.microsoft.com/office/drawing/2014/chart" uri="{C3380CC4-5D6E-409C-BE32-E72D297353CC}">
              <c16:uniqueId val="{00000007-706D-49C2-B2E7-8C4AFA3B0280}"/>
            </c:ext>
          </c:extLst>
        </c:ser>
        <c:dLbls>
          <c:dLblPos val="inEnd"/>
          <c:showLegendKey val="0"/>
          <c:showVal val="1"/>
          <c:showCatName val="0"/>
          <c:showSerName val="0"/>
          <c:showPercent val="0"/>
          <c:showBubbleSize val="0"/>
        </c:dLbls>
        <c:gapWidth val="150"/>
        <c:overlap val="100"/>
        <c:axId val="543042320"/>
        <c:axId val="543043152"/>
      </c:barChart>
      <c:catAx>
        <c:axId val="5430423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NL"/>
          </a:p>
        </c:txPr>
        <c:crossAx val="543043152"/>
        <c:crosses val="autoZero"/>
        <c:auto val="1"/>
        <c:lblAlgn val="ctr"/>
        <c:lblOffset val="100"/>
        <c:noMultiLvlLbl val="0"/>
      </c:catAx>
      <c:valAx>
        <c:axId val="543043152"/>
        <c:scaling>
          <c:orientation val="minMax"/>
        </c:scaling>
        <c:delete val="1"/>
        <c:axPos val="l"/>
        <c:numFmt formatCode="_-* #,##0.0_-;\-* #,##0.0_-;_-* &quot;-&quot;??_-;_-@_-" sourceLinked="1"/>
        <c:majorTickMark val="none"/>
        <c:minorTickMark val="none"/>
        <c:tickLblPos val="nextTo"/>
        <c:crossAx val="5430423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N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3E8EFE_7378FB22.xml><?xml version="1.0" encoding="utf-8"?>
<p188:cmLst xmlns:a="http://schemas.openxmlformats.org/drawingml/2006/main" xmlns:r="http://schemas.openxmlformats.org/officeDocument/2006/relationships" xmlns:p188="http://schemas.microsoft.com/office/powerpoint/2018/8/main">
  <p188:cm id="{86DA52E4-9232-4FF2-A643-12E0201DE86D}" authorId="{8F7E2789-BA1F-4CFC-DCC7-3CA0D04D8AE8}" created="2022-12-22T10:08:14.062">
    <pc:sldMkLst xmlns:pc="http://schemas.microsoft.com/office/powerpoint/2013/main/command">
      <pc:docMk/>
      <pc:sldMk cId="1937308450" sldId="2134806270"/>
    </pc:sldMkLst>
    <p188:txBody>
      <a:bodyPr/>
      <a:lstStyle/>
      <a:p>
        <a:r>
          <a:rPr lang="en-NL"/>
          <a:t>give this slide at first lection and then repeat for each type of risk</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043B6CA-5E89-482E-8AB5-E7571CB3B43E}" type="doc">
      <dgm:prSet loTypeId="urn:microsoft.com/office/officeart/2005/8/layout/pyramid1" loCatId="pyramid" qsTypeId="urn:microsoft.com/office/officeart/2005/8/quickstyle/simple1" qsCatId="simple" csTypeId="urn:microsoft.com/office/officeart/2005/8/colors/accent1_2" csCatId="accent1" phldr="1"/>
      <dgm:spPr/>
    </dgm:pt>
    <dgm:pt modelId="{83F99D2E-CAB1-4B73-AE2C-5B22755AAC4E}">
      <dgm:prSet phldrT="[Text]"/>
      <dgm:spPr>
        <a:solidFill>
          <a:schemeClr val="accent6">
            <a:lumMod val="60000"/>
            <a:lumOff val="40000"/>
          </a:schemeClr>
        </a:solidFill>
      </dgm:spPr>
      <dgm:t>
        <a:bodyPr/>
        <a:lstStyle/>
        <a:p>
          <a:pPr algn="ctr"/>
          <a:r>
            <a:rPr lang="en-GB" dirty="0"/>
            <a:t>Strategy</a:t>
          </a:r>
          <a:endParaRPr lang="en-NL" dirty="0"/>
        </a:p>
      </dgm:t>
    </dgm:pt>
    <dgm:pt modelId="{91095071-D8CB-468B-9206-535C8EFFDACD}" type="parTrans" cxnId="{55E1C468-506A-451B-B9F4-EF96BC47E642}">
      <dgm:prSet/>
      <dgm:spPr/>
      <dgm:t>
        <a:bodyPr/>
        <a:lstStyle/>
        <a:p>
          <a:endParaRPr lang="en-NL"/>
        </a:p>
      </dgm:t>
    </dgm:pt>
    <dgm:pt modelId="{951897F5-71EF-40F9-8056-B32D336575C6}" type="sibTrans" cxnId="{55E1C468-506A-451B-B9F4-EF96BC47E642}">
      <dgm:prSet/>
      <dgm:spPr/>
      <dgm:t>
        <a:bodyPr/>
        <a:lstStyle/>
        <a:p>
          <a:endParaRPr lang="en-NL"/>
        </a:p>
      </dgm:t>
    </dgm:pt>
    <dgm:pt modelId="{E1C2BF67-2C76-4142-B951-94AE96FF40B2}">
      <dgm:prSet phldrT="[Text]"/>
      <dgm:spPr>
        <a:solidFill>
          <a:schemeClr val="accent5">
            <a:lumMod val="75000"/>
          </a:schemeClr>
        </a:solidFill>
        <a:ln>
          <a:noFill/>
        </a:ln>
      </dgm:spPr>
      <dgm:t>
        <a:bodyPr/>
        <a:lstStyle/>
        <a:p>
          <a:r>
            <a:rPr lang="en-GB" dirty="0">
              <a:solidFill>
                <a:schemeClr val="bg1"/>
              </a:solidFill>
            </a:rPr>
            <a:t>Business plan</a:t>
          </a:r>
          <a:endParaRPr lang="en-NL" dirty="0">
            <a:solidFill>
              <a:schemeClr val="bg1"/>
            </a:solidFill>
          </a:endParaRPr>
        </a:p>
      </dgm:t>
    </dgm:pt>
    <dgm:pt modelId="{4B0E5784-DEA1-4145-814E-14F3280DD1A9}" type="parTrans" cxnId="{09B70561-3080-4637-A6D1-5D57BACC4BFC}">
      <dgm:prSet/>
      <dgm:spPr/>
      <dgm:t>
        <a:bodyPr/>
        <a:lstStyle/>
        <a:p>
          <a:endParaRPr lang="en-NL"/>
        </a:p>
      </dgm:t>
    </dgm:pt>
    <dgm:pt modelId="{C6BBFF88-8593-4354-9639-B6E2D21CCF59}" type="sibTrans" cxnId="{09B70561-3080-4637-A6D1-5D57BACC4BFC}">
      <dgm:prSet/>
      <dgm:spPr/>
      <dgm:t>
        <a:bodyPr/>
        <a:lstStyle/>
        <a:p>
          <a:endParaRPr lang="en-NL"/>
        </a:p>
      </dgm:t>
    </dgm:pt>
    <dgm:pt modelId="{2BB50D14-51CA-49BA-A837-3BB03F245EDC}">
      <dgm:prSet phldrT="[Text]"/>
      <dgm:spPr>
        <a:solidFill>
          <a:srgbClr val="7030A0"/>
        </a:solidFill>
      </dgm:spPr>
      <dgm:t>
        <a:bodyPr/>
        <a:lstStyle/>
        <a:p>
          <a:r>
            <a:rPr lang="en-GB" dirty="0">
              <a:solidFill>
                <a:schemeClr val="bg1"/>
              </a:solidFill>
            </a:rPr>
            <a:t>Operational level</a:t>
          </a:r>
          <a:endParaRPr lang="en-NL" dirty="0">
            <a:solidFill>
              <a:schemeClr val="bg1"/>
            </a:solidFill>
          </a:endParaRPr>
        </a:p>
      </dgm:t>
    </dgm:pt>
    <dgm:pt modelId="{62BAD861-676E-49C1-AE82-D4CD59397C5E}" type="parTrans" cxnId="{6807D983-153B-41FE-B207-A842ADF20A77}">
      <dgm:prSet/>
      <dgm:spPr/>
      <dgm:t>
        <a:bodyPr/>
        <a:lstStyle/>
        <a:p>
          <a:endParaRPr lang="en-NL"/>
        </a:p>
      </dgm:t>
    </dgm:pt>
    <dgm:pt modelId="{457A4874-5B58-49A3-B3D1-DFA63EDF402F}" type="sibTrans" cxnId="{6807D983-153B-41FE-B207-A842ADF20A77}">
      <dgm:prSet/>
      <dgm:spPr/>
      <dgm:t>
        <a:bodyPr/>
        <a:lstStyle/>
        <a:p>
          <a:endParaRPr lang="en-NL"/>
        </a:p>
      </dgm:t>
    </dgm:pt>
    <dgm:pt modelId="{535E976E-8EDA-4359-981C-7B374B3B8AE1}" type="pres">
      <dgm:prSet presAssocID="{8043B6CA-5E89-482E-8AB5-E7571CB3B43E}" presName="Name0" presStyleCnt="0">
        <dgm:presLayoutVars>
          <dgm:dir/>
          <dgm:animLvl val="lvl"/>
          <dgm:resizeHandles val="exact"/>
        </dgm:presLayoutVars>
      </dgm:prSet>
      <dgm:spPr/>
    </dgm:pt>
    <dgm:pt modelId="{914FBD24-7177-4887-9D0B-9584D0728CEB}" type="pres">
      <dgm:prSet presAssocID="{83F99D2E-CAB1-4B73-AE2C-5B22755AAC4E}" presName="Name8" presStyleCnt="0"/>
      <dgm:spPr/>
    </dgm:pt>
    <dgm:pt modelId="{B67561FD-1928-48E9-A92C-6131AA7B13B4}" type="pres">
      <dgm:prSet presAssocID="{83F99D2E-CAB1-4B73-AE2C-5B22755AAC4E}" presName="level" presStyleLbl="node1" presStyleIdx="0" presStyleCnt="3">
        <dgm:presLayoutVars>
          <dgm:chMax val="1"/>
          <dgm:bulletEnabled val="1"/>
        </dgm:presLayoutVars>
      </dgm:prSet>
      <dgm:spPr/>
    </dgm:pt>
    <dgm:pt modelId="{2BCD9B38-9C3D-45D8-BCE5-00262D5A5518}" type="pres">
      <dgm:prSet presAssocID="{83F99D2E-CAB1-4B73-AE2C-5B22755AAC4E}" presName="levelTx" presStyleLbl="revTx" presStyleIdx="0" presStyleCnt="0">
        <dgm:presLayoutVars>
          <dgm:chMax val="1"/>
          <dgm:bulletEnabled val="1"/>
        </dgm:presLayoutVars>
      </dgm:prSet>
      <dgm:spPr/>
    </dgm:pt>
    <dgm:pt modelId="{165FA4B2-AEE3-47A4-AA81-DA5DC3DA4CA0}" type="pres">
      <dgm:prSet presAssocID="{E1C2BF67-2C76-4142-B951-94AE96FF40B2}" presName="Name8" presStyleCnt="0"/>
      <dgm:spPr/>
    </dgm:pt>
    <dgm:pt modelId="{4494B6AC-6915-4647-B5A3-0946C8A60F4D}" type="pres">
      <dgm:prSet presAssocID="{E1C2BF67-2C76-4142-B951-94AE96FF40B2}" presName="level" presStyleLbl="node1" presStyleIdx="1" presStyleCnt="3">
        <dgm:presLayoutVars>
          <dgm:chMax val="1"/>
          <dgm:bulletEnabled val="1"/>
        </dgm:presLayoutVars>
      </dgm:prSet>
      <dgm:spPr/>
    </dgm:pt>
    <dgm:pt modelId="{E13AE281-1C0F-4813-A5C1-58CBE061A863}" type="pres">
      <dgm:prSet presAssocID="{E1C2BF67-2C76-4142-B951-94AE96FF40B2}" presName="levelTx" presStyleLbl="revTx" presStyleIdx="0" presStyleCnt="0">
        <dgm:presLayoutVars>
          <dgm:chMax val="1"/>
          <dgm:bulletEnabled val="1"/>
        </dgm:presLayoutVars>
      </dgm:prSet>
      <dgm:spPr/>
    </dgm:pt>
    <dgm:pt modelId="{52D248AE-CE85-41AF-968C-AC4CD0DFE792}" type="pres">
      <dgm:prSet presAssocID="{2BB50D14-51CA-49BA-A837-3BB03F245EDC}" presName="Name8" presStyleCnt="0"/>
      <dgm:spPr/>
    </dgm:pt>
    <dgm:pt modelId="{E7B72081-D3D5-4ED4-86DE-39D28EE8329E}" type="pres">
      <dgm:prSet presAssocID="{2BB50D14-51CA-49BA-A837-3BB03F245EDC}" presName="level" presStyleLbl="node1" presStyleIdx="2" presStyleCnt="3">
        <dgm:presLayoutVars>
          <dgm:chMax val="1"/>
          <dgm:bulletEnabled val="1"/>
        </dgm:presLayoutVars>
      </dgm:prSet>
      <dgm:spPr/>
    </dgm:pt>
    <dgm:pt modelId="{5C7E30E3-3330-4B7C-AB1C-B26D7CC96B2E}" type="pres">
      <dgm:prSet presAssocID="{2BB50D14-51CA-49BA-A837-3BB03F245EDC}" presName="levelTx" presStyleLbl="revTx" presStyleIdx="0" presStyleCnt="0">
        <dgm:presLayoutVars>
          <dgm:chMax val="1"/>
          <dgm:bulletEnabled val="1"/>
        </dgm:presLayoutVars>
      </dgm:prSet>
      <dgm:spPr/>
    </dgm:pt>
  </dgm:ptLst>
  <dgm:cxnLst>
    <dgm:cxn modelId="{09B70561-3080-4637-A6D1-5D57BACC4BFC}" srcId="{8043B6CA-5E89-482E-8AB5-E7571CB3B43E}" destId="{E1C2BF67-2C76-4142-B951-94AE96FF40B2}" srcOrd="1" destOrd="0" parTransId="{4B0E5784-DEA1-4145-814E-14F3280DD1A9}" sibTransId="{C6BBFF88-8593-4354-9639-B6E2D21CCF59}"/>
    <dgm:cxn modelId="{0AD15968-D24F-4AD3-B0EE-27A6B73ADF68}" type="presOf" srcId="{E1C2BF67-2C76-4142-B951-94AE96FF40B2}" destId="{E13AE281-1C0F-4813-A5C1-58CBE061A863}" srcOrd="1" destOrd="0" presId="urn:microsoft.com/office/officeart/2005/8/layout/pyramid1"/>
    <dgm:cxn modelId="{55E1C468-506A-451B-B9F4-EF96BC47E642}" srcId="{8043B6CA-5E89-482E-8AB5-E7571CB3B43E}" destId="{83F99D2E-CAB1-4B73-AE2C-5B22755AAC4E}" srcOrd="0" destOrd="0" parTransId="{91095071-D8CB-468B-9206-535C8EFFDACD}" sibTransId="{951897F5-71EF-40F9-8056-B32D336575C6}"/>
    <dgm:cxn modelId="{358CDB75-88A0-47AC-AC29-82C680B12923}" type="presOf" srcId="{2BB50D14-51CA-49BA-A837-3BB03F245EDC}" destId="{5C7E30E3-3330-4B7C-AB1C-B26D7CC96B2E}" srcOrd="1" destOrd="0" presId="urn:microsoft.com/office/officeart/2005/8/layout/pyramid1"/>
    <dgm:cxn modelId="{64744783-5D93-4AE6-8590-0FFE6B6B4AAF}" type="presOf" srcId="{E1C2BF67-2C76-4142-B951-94AE96FF40B2}" destId="{4494B6AC-6915-4647-B5A3-0946C8A60F4D}" srcOrd="0" destOrd="0" presId="urn:microsoft.com/office/officeart/2005/8/layout/pyramid1"/>
    <dgm:cxn modelId="{6807D983-153B-41FE-B207-A842ADF20A77}" srcId="{8043B6CA-5E89-482E-8AB5-E7571CB3B43E}" destId="{2BB50D14-51CA-49BA-A837-3BB03F245EDC}" srcOrd="2" destOrd="0" parTransId="{62BAD861-676E-49C1-AE82-D4CD59397C5E}" sibTransId="{457A4874-5B58-49A3-B3D1-DFA63EDF402F}"/>
    <dgm:cxn modelId="{25FA59A0-E400-4D28-8352-68932B41EFDB}" type="presOf" srcId="{83F99D2E-CAB1-4B73-AE2C-5B22755AAC4E}" destId="{B67561FD-1928-48E9-A92C-6131AA7B13B4}" srcOrd="0" destOrd="0" presId="urn:microsoft.com/office/officeart/2005/8/layout/pyramid1"/>
    <dgm:cxn modelId="{3EDA7BCA-2A71-4611-878A-26346D0A1FA1}" type="presOf" srcId="{8043B6CA-5E89-482E-8AB5-E7571CB3B43E}" destId="{535E976E-8EDA-4359-981C-7B374B3B8AE1}" srcOrd="0" destOrd="0" presId="urn:microsoft.com/office/officeart/2005/8/layout/pyramid1"/>
    <dgm:cxn modelId="{E94D5ADC-1B00-41B3-8550-91BEF5C71E1A}" type="presOf" srcId="{2BB50D14-51CA-49BA-A837-3BB03F245EDC}" destId="{E7B72081-D3D5-4ED4-86DE-39D28EE8329E}" srcOrd="0" destOrd="0" presId="urn:microsoft.com/office/officeart/2005/8/layout/pyramid1"/>
    <dgm:cxn modelId="{508AB7F7-8BA5-4F0B-BF8D-56060F3A5B6D}" type="presOf" srcId="{83F99D2E-CAB1-4B73-AE2C-5B22755AAC4E}" destId="{2BCD9B38-9C3D-45D8-BCE5-00262D5A5518}" srcOrd="1" destOrd="0" presId="urn:microsoft.com/office/officeart/2005/8/layout/pyramid1"/>
    <dgm:cxn modelId="{EA65C517-FDEB-44FA-AD46-FB03530606BA}" type="presParOf" srcId="{535E976E-8EDA-4359-981C-7B374B3B8AE1}" destId="{914FBD24-7177-4887-9D0B-9584D0728CEB}" srcOrd="0" destOrd="0" presId="urn:microsoft.com/office/officeart/2005/8/layout/pyramid1"/>
    <dgm:cxn modelId="{16DBB585-EB6C-4639-9299-A0E93C49F993}" type="presParOf" srcId="{914FBD24-7177-4887-9D0B-9584D0728CEB}" destId="{B67561FD-1928-48E9-A92C-6131AA7B13B4}" srcOrd="0" destOrd="0" presId="urn:microsoft.com/office/officeart/2005/8/layout/pyramid1"/>
    <dgm:cxn modelId="{9618D783-34C9-42FE-88E7-19F57F58DC0E}" type="presParOf" srcId="{914FBD24-7177-4887-9D0B-9584D0728CEB}" destId="{2BCD9B38-9C3D-45D8-BCE5-00262D5A5518}" srcOrd="1" destOrd="0" presId="urn:microsoft.com/office/officeart/2005/8/layout/pyramid1"/>
    <dgm:cxn modelId="{3F339584-13CF-419B-8C12-F5E016382436}" type="presParOf" srcId="{535E976E-8EDA-4359-981C-7B374B3B8AE1}" destId="{165FA4B2-AEE3-47A4-AA81-DA5DC3DA4CA0}" srcOrd="1" destOrd="0" presId="urn:microsoft.com/office/officeart/2005/8/layout/pyramid1"/>
    <dgm:cxn modelId="{6F97447C-2803-45DD-870E-6D9B13714386}" type="presParOf" srcId="{165FA4B2-AEE3-47A4-AA81-DA5DC3DA4CA0}" destId="{4494B6AC-6915-4647-B5A3-0946C8A60F4D}" srcOrd="0" destOrd="0" presId="urn:microsoft.com/office/officeart/2005/8/layout/pyramid1"/>
    <dgm:cxn modelId="{16CC09E3-C684-4031-9B5F-D1981D5FA9B4}" type="presParOf" srcId="{165FA4B2-AEE3-47A4-AA81-DA5DC3DA4CA0}" destId="{E13AE281-1C0F-4813-A5C1-58CBE061A863}" srcOrd="1" destOrd="0" presId="urn:microsoft.com/office/officeart/2005/8/layout/pyramid1"/>
    <dgm:cxn modelId="{03971598-03A9-4E78-9117-A7167F86B094}" type="presParOf" srcId="{535E976E-8EDA-4359-981C-7B374B3B8AE1}" destId="{52D248AE-CE85-41AF-968C-AC4CD0DFE792}" srcOrd="2" destOrd="0" presId="urn:microsoft.com/office/officeart/2005/8/layout/pyramid1"/>
    <dgm:cxn modelId="{5F8051B1-B682-48C4-8EDD-D0187E4860AA}" type="presParOf" srcId="{52D248AE-CE85-41AF-968C-AC4CD0DFE792}" destId="{E7B72081-D3D5-4ED4-86DE-39D28EE8329E}" srcOrd="0" destOrd="0" presId="urn:microsoft.com/office/officeart/2005/8/layout/pyramid1"/>
    <dgm:cxn modelId="{A4091994-C9A7-490B-926B-C6AB07BF8028}" type="presParOf" srcId="{52D248AE-CE85-41AF-968C-AC4CD0DFE792}" destId="{5C7E30E3-3330-4B7C-AB1C-B26D7CC96B2E}"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7561FD-1928-48E9-A92C-6131AA7B13B4}">
      <dsp:nvSpPr>
        <dsp:cNvPr id="0" name=""/>
        <dsp:cNvSpPr/>
      </dsp:nvSpPr>
      <dsp:spPr>
        <a:xfrm>
          <a:off x="1441449" y="0"/>
          <a:ext cx="1441450" cy="1687335"/>
        </a:xfrm>
        <a:prstGeom prst="trapezoid">
          <a:avLst>
            <a:gd name="adj" fmla="val 50000"/>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GB" sz="3200" kern="1200" dirty="0"/>
            <a:t>Strategy</a:t>
          </a:r>
          <a:endParaRPr lang="en-NL" sz="3200" kern="1200" dirty="0"/>
        </a:p>
      </dsp:txBody>
      <dsp:txXfrm>
        <a:off x="1441449" y="0"/>
        <a:ext cx="1441450" cy="1687335"/>
      </dsp:txXfrm>
    </dsp:sp>
    <dsp:sp modelId="{4494B6AC-6915-4647-B5A3-0946C8A60F4D}">
      <dsp:nvSpPr>
        <dsp:cNvPr id="0" name=""/>
        <dsp:cNvSpPr/>
      </dsp:nvSpPr>
      <dsp:spPr>
        <a:xfrm>
          <a:off x="720724" y="1687335"/>
          <a:ext cx="2882900" cy="1687335"/>
        </a:xfrm>
        <a:prstGeom prst="trapezoid">
          <a:avLst>
            <a:gd name="adj" fmla="val 42714"/>
          </a:avLst>
        </a:prstGeom>
        <a:solidFill>
          <a:schemeClr val="accent5">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GB" sz="3200" kern="1200" dirty="0">
              <a:solidFill>
                <a:schemeClr val="bg1"/>
              </a:solidFill>
            </a:rPr>
            <a:t>Business plan</a:t>
          </a:r>
          <a:endParaRPr lang="en-NL" sz="3200" kern="1200" dirty="0">
            <a:solidFill>
              <a:schemeClr val="bg1"/>
            </a:solidFill>
          </a:endParaRPr>
        </a:p>
      </dsp:txBody>
      <dsp:txXfrm>
        <a:off x="1225232" y="1687335"/>
        <a:ext cx="1873885" cy="1687335"/>
      </dsp:txXfrm>
    </dsp:sp>
    <dsp:sp modelId="{E7B72081-D3D5-4ED4-86DE-39D28EE8329E}">
      <dsp:nvSpPr>
        <dsp:cNvPr id="0" name=""/>
        <dsp:cNvSpPr/>
      </dsp:nvSpPr>
      <dsp:spPr>
        <a:xfrm>
          <a:off x="0" y="3374670"/>
          <a:ext cx="4324350" cy="1687335"/>
        </a:xfrm>
        <a:prstGeom prst="trapezoid">
          <a:avLst>
            <a:gd name="adj" fmla="val 42714"/>
          </a:avLst>
        </a:prstGeom>
        <a:solidFill>
          <a:srgbClr val="7030A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GB" sz="3200" kern="1200" dirty="0">
              <a:solidFill>
                <a:schemeClr val="bg1"/>
              </a:solidFill>
            </a:rPr>
            <a:t>Operational level</a:t>
          </a:r>
          <a:endParaRPr lang="en-NL" sz="3200" kern="1200" dirty="0">
            <a:solidFill>
              <a:schemeClr val="bg1"/>
            </a:solidFill>
          </a:endParaRPr>
        </a:p>
      </dsp:txBody>
      <dsp:txXfrm>
        <a:off x="756761" y="3374670"/>
        <a:ext cx="2810827" cy="1687335"/>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image" Target="../media/image68.png"/></Relationships>
</file>

<file path=ppt/drawings/drawing1.xml><?xml version="1.0" encoding="utf-8"?>
<c:userShapes xmlns:c="http://schemas.openxmlformats.org/drawingml/2006/chart">
  <cdr:relSizeAnchor xmlns:cdr="http://schemas.openxmlformats.org/drawingml/2006/chartDrawing">
    <cdr:from>
      <cdr:x>0.51373</cdr:x>
      <cdr:y>0.15856</cdr:y>
    </cdr:from>
    <cdr:to>
      <cdr:x>0.69694</cdr:x>
      <cdr:y>0.27346</cdr:y>
    </cdr:to>
    <cdr:sp macro="" textlink="">
      <cdr:nvSpPr>
        <cdr:cNvPr id="2" name="TextBox 18">
          <a:extLst xmlns:a="http://schemas.openxmlformats.org/drawingml/2006/main">
            <a:ext uri="{FF2B5EF4-FFF2-40B4-BE49-F238E27FC236}">
              <a16:creationId xmlns:a16="http://schemas.microsoft.com/office/drawing/2014/main" id="{3D98BB4E-4B9D-436D-BEDF-E9ABAC4F3A5F}"/>
            </a:ext>
          </a:extLst>
        </cdr:cNvPr>
        <cdr:cNvSpPr txBox="1"/>
      </cdr:nvSpPr>
      <cdr:spPr>
        <a:xfrm xmlns:a="http://schemas.openxmlformats.org/drawingml/2006/main">
          <a:off x="4679316" y="891908"/>
          <a:ext cx="1668784" cy="646331"/>
        </a:xfrm>
        <a:prstGeom xmlns:a="http://schemas.openxmlformats.org/drawingml/2006/main" prst="rect">
          <a:avLst/>
        </a:prstGeom>
        <a:noFill xmlns:a="http://schemas.openxmlformats.org/drawingml/2006/main"/>
        <a:ln xmlns:a="http://schemas.openxmlformats.org/drawingml/2006/main">
          <a:solidFill>
            <a:srgbClr val="00B050"/>
          </a:solidFill>
        </a:ln>
      </cdr:spPr>
      <cdr:txBody>
        <a:bodyPr xmlns:a="http://schemas.openxmlformats.org/drawingml/2006/main" wrap="square" rtlCol="0">
          <a:spAutoFit/>
        </a:bodyPr>
        <a:lstStyle xmlns:a="http://schemas.openxmlformats.org/drawingml/2006/main">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dirty="0">
              <a:solidFill>
                <a:srgbClr val="00B050"/>
              </a:solidFill>
            </a:rPr>
            <a:t>The margin for asset = 2,1%</a:t>
          </a:r>
          <a:endParaRPr lang="en-NL" dirty="0">
            <a:solidFill>
              <a:srgbClr val="00B050"/>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3098</cdr:x>
      <cdr:y>0.42139</cdr:y>
    </cdr:from>
    <cdr:to>
      <cdr:x>0.1558</cdr:x>
      <cdr:y>0.5</cdr:y>
    </cdr:to>
    <cdr:pic>
      <cdr:nvPicPr>
        <cdr:cNvPr id="2" name="chart">
          <a:extLst xmlns:a="http://schemas.openxmlformats.org/drawingml/2006/main">
            <a:ext uri="{FF2B5EF4-FFF2-40B4-BE49-F238E27FC236}">
              <a16:creationId xmlns:a16="http://schemas.microsoft.com/office/drawing/2014/main" id="{B62E9858-B907-A448-64B8-72FC11D6BF24}"/>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206631" y="1276380"/>
          <a:ext cx="228571" cy="238095"/>
        </a:xfrm>
        <a:prstGeom xmlns:a="http://schemas.openxmlformats.org/drawingml/2006/main" prst="rect">
          <a:avLst/>
        </a:prstGeom>
      </cdr:spPr>
    </cdr:pic>
  </cdr:relSizeAnchor>
  <cdr:relSizeAnchor xmlns:cdr="http://schemas.openxmlformats.org/drawingml/2006/chartDrawing">
    <cdr:from>
      <cdr:x>0.14775</cdr:x>
      <cdr:y>0.44611</cdr:y>
    </cdr:from>
    <cdr:to>
      <cdr:x>0.17257</cdr:x>
      <cdr:y>0.52472</cdr:y>
    </cdr:to>
    <cdr:pic>
      <cdr:nvPicPr>
        <cdr:cNvPr id="3" name="chart">
          <a:extLst xmlns:a="http://schemas.openxmlformats.org/drawingml/2006/main">
            <a:ext uri="{FF2B5EF4-FFF2-40B4-BE49-F238E27FC236}">
              <a16:creationId xmlns:a16="http://schemas.microsoft.com/office/drawing/2014/main" id="{BA6869EF-33B9-1708-FC19-FA09B2B81211}"/>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361126" y="1351243"/>
          <a:ext cx="228571" cy="238095"/>
        </a:xfrm>
        <a:prstGeom xmlns:a="http://schemas.openxmlformats.org/drawingml/2006/main" prst="rect">
          <a:avLst/>
        </a:prstGeom>
      </cdr:spPr>
    </cdr:pic>
  </cdr:relSizeAnchor>
  <cdr:relSizeAnchor xmlns:cdr="http://schemas.openxmlformats.org/drawingml/2006/chartDrawing">
    <cdr:from>
      <cdr:x>0.14508</cdr:x>
      <cdr:y>0.29793</cdr:y>
    </cdr:from>
    <cdr:to>
      <cdr:x>0.16989</cdr:x>
      <cdr:y>0.37654</cdr:y>
    </cdr:to>
    <cdr:pic>
      <cdr:nvPicPr>
        <cdr:cNvPr id="4" name="chart">
          <a:extLst xmlns:a="http://schemas.openxmlformats.org/drawingml/2006/main">
            <a:ext uri="{FF2B5EF4-FFF2-40B4-BE49-F238E27FC236}">
              <a16:creationId xmlns:a16="http://schemas.microsoft.com/office/drawing/2014/main" id="{972DB14E-C9D2-D767-913B-0345A882AAE6}"/>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336511" y="902422"/>
          <a:ext cx="228571" cy="238095"/>
        </a:xfrm>
        <a:prstGeom xmlns:a="http://schemas.openxmlformats.org/drawingml/2006/main" prst="rect">
          <a:avLst/>
        </a:prstGeom>
      </cdr:spPr>
    </cdr:pic>
  </cdr:relSizeAnchor>
  <cdr:relSizeAnchor xmlns:cdr="http://schemas.openxmlformats.org/drawingml/2006/chartDrawing">
    <cdr:from>
      <cdr:x>0.1809</cdr:x>
      <cdr:y>0.27615</cdr:y>
    </cdr:from>
    <cdr:to>
      <cdr:x>0.20571</cdr:x>
      <cdr:y>0.35475</cdr:y>
    </cdr:to>
    <cdr:pic>
      <cdr:nvPicPr>
        <cdr:cNvPr id="5" name="chart">
          <a:extLst xmlns:a="http://schemas.openxmlformats.org/drawingml/2006/main">
            <a:ext uri="{FF2B5EF4-FFF2-40B4-BE49-F238E27FC236}">
              <a16:creationId xmlns:a16="http://schemas.microsoft.com/office/drawing/2014/main" id="{972DB14E-C9D2-D767-913B-0345A882AAE6}"/>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666450" y="836435"/>
          <a:ext cx="228571" cy="238095"/>
        </a:xfrm>
        <a:prstGeom xmlns:a="http://schemas.openxmlformats.org/drawingml/2006/main" prst="rect">
          <a:avLst/>
        </a:prstGeom>
      </cdr:spPr>
    </cdr:pic>
  </cdr:relSizeAnchor>
  <cdr:relSizeAnchor xmlns:cdr="http://schemas.openxmlformats.org/drawingml/2006/chartDrawing">
    <cdr:from>
      <cdr:x>0.21467</cdr:x>
      <cdr:y>0.2886</cdr:y>
    </cdr:from>
    <cdr:to>
      <cdr:x>0.23948</cdr:x>
      <cdr:y>0.3672</cdr:y>
    </cdr:to>
    <cdr:pic>
      <cdr:nvPicPr>
        <cdr:cNvPr id="6" name="chart">
          <a:extLst xmlns:a="http://schemas.openxmlformats.org/drawingml/2006/main">
            <a:ext uri="{FF2B5EF4-FFF2-40B4-BE49-F238E27FC236}">
              <a16:creationId xmlns:a16="http://schemas.microsoft.com/office/drawing/2014/main" id="{972DB14E-C9D2-D767-913B-0345A882AAE6}"/>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977534" y="874142"/>
          <a:ext cx="228571" cy="238095"/>
        </a:xfrm>
        <a:prstGeom xmlns:a="http://schemas.openxmlformats.org/drawingml/2006/main" prst="rect">
          <a:avLst/>
        </a:prstGeom>
      </cdr:spPr>
    </cdr:pic>
  </cdr:relSizeAnchor>
  <cdr:relSizeAnchor xmlns:cdr="http://schemas.openxmlformats.org/drawingml/2006/chartDrawing">
    <cdr:from>
      <cdr:x>0.17823</cdr:x>
      <cdr:y>0.44611</cdr:y>
    </cdr:from>
    <cdr:to>
      <cdr:x>0.20304</cdr:x>
      <cdr:y>0.52472</cdr:y>
    </cdr:to>
    <cdr:pic>
      <cdr:nvPicPr>
        <cdr:cNvPr id="7" name="chart">
          <a:extLst xmlns:a="http://schemas.openxmlformats.org/drawingml/2006/main">
            <a:ext uri="{FF2B5EF4-FFF2-40B4-BE49-F238E27FC236}">
              <a16:creationId xmlns:a16="http://schemas.microsoft.com/office/drawing/2014/main" id="{CDECFD6F-61F6-B96D-5647-08977E7ED87C}"/>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641835" y="1351243"/>
          <a:ext cx="228571" cy="238095"/>
        </a:xfrm>
        <a:prstGeom xmlns:a="http://schemas.openxmlformats.org/drawingml/2006/main" prst="rect">
          <a:avLst/>
        </a:prstGeom>
      </cdr:spPr>
    </cdr:pic>
  </cdr:relSizeAnchor>
  <cdr:relSizeAnchor xmlns:cdr="http://schemas.openxmlformats.org/drawingml/2006/chartDrawing">
    <cdr:from>
      <cdr:x>0.25844</cdr:x>
      <cdr:y>0.30727</cdr:y>
    </cdr:from>
    <cdr:to>
      <cdr:x>0.28325</cdr:x>
      <cdr:y>0.38588</cdr:y>
    </cdr:to>
    <cdr:pic>
      <cdr:nvPicPr>
        <cdr:cNvPr id="8" name="chart">
          <a:extLst xmlns:a="http://schemas.openxmlformats.org/drawingml/2006/main">
            <a:ext uri="{FF2B5EF4-FFF2-40B4-BE49-F238E27FC236}">
              <a16:creationId xmlns:a16="http://schemas.microsoft.com/office/drawing/2014/main" id="{99C9CA9F-B08B-FDC8-3761-3F56245F224E}"/>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2380792" y="930703"/>
          <a:ext cx="228571" cy="238095"/>
        </a:xfrm>
        <a:prstGeom xmlns:a="http://schemas.openxmlformats.org/drawingml/2006/main" prst="rect">
          <a:avLst/>
        </a:prstGeom>
      </cdr:spPr>
    </cdr:pic>
  </cdr:relSizeAnchor>
  <cdr:relSizeAnchor xmlns:cdr="http://schemas.openxmlformats.org/drawingml/2006/chartDrawing">
    <cdr:from>
      <cdr:x>0.29568</cdr:x>
      <cdr:y>0.27113</cdr:y>
    </cdr:from>
    <cdr:to>
      <cdr:x>0.32049</cdr:x>
      <cdr:y>0.34974</cdr:y>
    </cdr:to>
    <cdr:pic>
      <cdr:nvPicPr>
        <cdr:cNvPr id="9" name="chart">
          <a:extLst xmlns:a="http://schemas.openxmlformats.org/drawingml/2006/main">
            <a:ext uri="{FF2B5EF4-FFF2-40B4-BE49-F238E27FC236}">
              <a16:creationId xmlns:a16="http://schemas.microsoft.com/office/drawing/2014/main" id="{3E0040B7-5927-F7D2-2AB1-5D1F583A80BC}"/>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2723823" y="821247"/>
          <a:ext cx="228571" cy="238095"/>
        </a:xfrm>
        <a:prstGeom xmlns:a="http://schemas.openxmlformats.org/drawingml/2006/main" prst="rect">
          <a:avLst/>
        </a:prstGeom>
      </cdr:spPr>
    </cdr:pic>
  </cdr:relSizeAnchor>
  <cdr:relSizeAnchor xmlns:cdr="http://schemas.openxmlformats.org/drawingml/2006/chartDrawing">
    <cdr:from>
      <cdr:x>0.34827</cdr:x>
      <cdr:y>0.26871</cdr:y>
    </cdr:from>
    <cdr:to>
      <cdr:x>0.37308</cdr:x>
      <cdr:y>0.34732</cdr:y>
    </cdr:to>
    <cdr:pic>
      <cdr:nvPicPr>
        <cdr:cNvPr id="10" name="chart">
          <a:extLst xmlns:a="http://schemas.openxmlformats.org/drawingml/2006/main">
            <a:ext uri="{FF2B5EF4-FFF2-40B4-BE49-F238E27FC236}">
              <a16:creationId xmlns:a16="http://schemas.microsoft.com/office/drawing/2014/main" id="{A1A9F8A4-A87E-D66D-CEB0-A0339B10D97C}"/>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3208256" y="813915"/>
          <a:ext cx="228571" cy="238095"/>
        </a:xfrm>
        <a:prstGeom xmlns:a="http://schemas.openxmlformats.org/drawingml/2006/main" prst="rect">
          <a:avLst/>
        </a:prstGeom>
      </cdr:spPr>
    </cdr:pic>
  </cdr:relSizeAnchor>
  <cdr:relSizeAnchor xmlns:cdr="http://schemas.openxmlformats.org/drawingml/2006/chartDrawing">
    <cdr:from>
      <cdr:x>0.4162</cdr:x>
      <cdr:y>0.24814</cdr:y>
    </cdr:from>
    <cdr:to>
      <cdr:x>0.44101</cdr:x>
      <cdr:y>0.32674</cdr:y>
    </cdr:to>
    <cdr:pic>
      <cdr:nvPicPr>
        <cdr:cNvPr id="11"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3834091" y="751593"/>
          <a:ext cx="228571" cy="238095"/>
        </a:xfrm>
        <a:prstGeom xmlns:a="http://schemas.openxmlformats.org/drawingml/2006/main" prst="rect">
          <a:avLst/>
        </a:prstGeom>
      </cdr:spPr>
    </cdr:pic>
  </cdr:relSizeAnchor>
  <cdr:relSizeAnchor xmlns:cdr="http://schemas.openxmlformats.org/drawingml/2006/chartDrawing">
    <cdr:from>
      <cdr:x>0.46931</cdr:x>
      <cdr:y>0.22946</cdr:y>
    </cdr:from>
    <cdr:to>
      <cdr:x>0.49413</cdr:x>
      <cdr:y>0.30807</cdr:y>
    </cdr:to>
    <cdr:pic>
      <cdr:nvPicPr>
        <cdr:cNvPr id="12"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4323364" y="695033"/>
          <a:ext cx="228571" cy="238095"/>
        </a:xfrm>
        <a:prstGeom xmlns:a="http://schemas.openxmlformats.org/drawingml/2006/main" prst="rect">
          <a:avLst/>
        </a:prstGeom>
      </cdr:spPr>
    </cdr:pic>
  </cdr:relSizeAnchor>
  <cdr:relSizeAnchor xmlns:cdr="http://schemas.openxmlformats.org/drawingml/2006/chartDrawing">
    <cdr:from>
      <cdr:x>0.4445</cdr:x>
      <cdr:y>0.31349</cdr:y>
    </cdr:from>
    <cdr:to>
      <cdr:x>0.46931</cdr:x>
      <cdr:y>0.3921</cdr:y>
    </cdr:to>
    <cdr:pic>
      <cdr:nvPicPr>
        <cdr:cNvPr id="13"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4094793" y="949556"/>
          <a:ext cx="228571" cy="238095"/>
        </a:xfrm>
        <a:prstGeom xmlns:a="http://schemas.openxmlformats.org/drawingml/2006/main" prst="rect">
          <a:avLst/>
        </a:prstGeom>
      </cdr:spPr>
    </cdr:pic>
  </cdr:relSizeAnchor>
  <cdr:relSizeAnchor xmlns:cdr="http://schemas.openxmlformats.org/drawingml/2006/chartDrawing">
    <cdr:from>
      <cdr:x>0.51853</cdr:x>
      <cdr:y>0.23258</cdr:y>
    </cdr:from>
    <cdr:to>
      <cdr:x>0.54335</cdr:x>
      <cdr:y>0.31118</cdr:y>
    </cdr:to>
    <cdr:pic>
      <cdr:nvPicPr>
        <cdr:cNvPr id="14"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4776771" y="704460"/>
          <a:ext cx="228571" cy="238095"/>
        </a:xfrm>
        <a:prstGeom xmlns:a="http://schemas.openxmlformats.org/drawingml/2006/main" prst="rect">
          <a:avLst/>
        </a:prstGeom>
      </cdr:spPr>
    </cdr:pic>
  </cdr:relSizeAnchor>
  <cdr:relSizeAnchor xmlns:cdr="http://schemas.openxmlformats.org/drawingml/2006/chartDrawing">
    <cdr:from>
      <cdr:x>0.57482</cdr:x>
      <cdr:y>0.21079</cdr:y>
    </cdr:from>
    <cdr:to>
      <cdr:x>0.59963</cdr:x>
      <cdr:y>0.2894</cdr:y>
    </cdr:to>
    <cdr:pic>
      <cdr:nvPicPr>
        <cdr:cNvPr id="15"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5295246" y="638472"/>
          <a:ext cx="228571" cy="238095"/>
        </a:xfrm>
        <a:prstGeom xmlns:a="http://schemas.openxmlformats.org/drawingml/2006/main" prst="rect">
          <a:avLst/>
        </a:prstGeom>
      </cdr:spPr>
    </cdr:pic>
  </cdr:relSizeAnchor>
  <cdr:relSizeAnchor xmlns:cdr="http://schemas.openxmlformats.org/drawingml/2006/chartDrawing">
    <cdr:from>
      <cdr:x>0.60142</cdr:x>
      <cdr:y>0.24502</cdr:y>
    </cdr:from>
    <cdr:to>
      <cdr:x>0.62623</cdr:x>
      <cdr:y>0.32363</cdr:y>
    </cdr:to>
    <cdr:pic>
      <cdr:nvPicPr>
        <cdr:cNvPr id="16"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5540343" y="742167"/>
          <a:ext cx="228571" cy="238095"/>
        </a:xfrm>
        <a:prstGeom xmlns:a="http://schemas.openxmlformats.org/drawingml/2006/main" prst="rect">
          <a:avLst/>
        </a:prstGeom>
      </cdr:spPr>
    </cdr:pic>
  </cdr:relSizeAnchor>
  <cdr:relSizeAnchor xmlns:cdr="http://schemas.openxmlformats.org/drawingml/2006/chartDrawing">
    <cdr:from>
      <cdr:x>0.67305</cdr:x>
      <cdr:y>0.29793</cdr:y>
    </cdr:from>
    <cdr:to>
      <cdr:x>0.69786</cdr:x>
      <cdr:y>0.37654</cdr:y>
    </cdr:to>
    <cdr:pic>
      <cdr:nvPicPr>
        <cdr:cNvPr id="17"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6200219" y="902422"/>
          <a:ext cx="228571" cy="238095"/>
        </a:xfrm>
        <a:prstGeom xmlns:a="http://schemas.openxmlformats.org/drawingml/2006/main" prst="rect">
          <a:avLst/>
        </a:prstGeom>
      </cdr:spPr>
    </cdr:pic>
  </cdr:relSizeAnchor>
  <cdr:relSizeAnchor xmlns:cdr="http://schemas.openxmlformats.org/drawingml/2006/chartDrawing">
    <cdr:from>
      <cdr:x>0.69966</cdr:x>
      <cdr:y>0.16411</cdr:y>
    </cdr:from>
    <cdr:to>
      <cdr:x>0.72447</cdr:x>
      <cdr:y>0.24271</cdr:y>
    </cdr:to>
    <cdr:pic>
      <cdr:nvPicPr>
        <cdr:cNvPr id="18"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6445316" y="497070"/>
          <a:ext cx="228571" cy="238095"/>
        </a:xfrm>
        <a:prstGeom xmlns:a="http://schemas.openxmlformats.org/drawingml/2006/main" prst="rect">
          <a:avLst/>
        </a:prstGeom>
      </cdr:spPr>
    </cdr:pic>
  </cdr:relSizeAnchor>
  <cdr:relSizeAnchor xmlns:cdr="http://schemas.openxmlformats.org/drawingml/2006/chartDrawing">
    <cdr:from>
      <cdr:x>0.73036</cdr:x>
      <cdr:y>0.0863</cdr:y>
    </cdr:from>
    <cdr:to>
      <cdr:x>0.75517</cdr:x>
      <cdr:y>0.16491</cdr:y>
    </cdr:to>
    <cdr:pic>
      <cdr:nvPicPr>
        <cdr:cNvPr id="19"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6728120" y="261400"/>
          <a:ext cx="228571" cy="238095"/>
        </a:xfrm>
        <a:prstGeom xmlns:a="http://schemas.openxmlformats.org/drawingml/2006/main" prst="rect">
          <a:avLst/>
        </a:prstGeom>
      </cdr:spPr>
    </cdr:pic>
  </cdr:relSizeAnchor>
  <cdr:relSizeAnchor xmlns:cdr="http://schemas.openxmlformats.org/drawingml/2006/chartDrawing">
    <cdr:from>
      <cdr:x>0.64235</cdr:x>
      <cdr:y>0.18278</cdr:y>
    </cdr:from>
    <cdr:to>
      <cdr:x>0.66717</cdr:x>
      <cdr:y>0.26139</cdr:y>
    </cdr:to>
    <cdr:pic>
      <cdr:nvPicPr>
        <cdr:cNvPr id="20"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5917415" y="553631"/>
          <a:ext cx="228571" cy="238095"/>
        </a:xfrm>
        <a:prstGeom xmlns:a="http://schemas.openxmlformats.org/drawingml/2006/main" prst="rect">
          <a:avLst/>
        </a:prstGeom>
      </cdr:spPr>
    </cdr:pic>
  </cdr:relSizeAnchor>
  <cdr:relSizeAnchor xmlns:cdr="http://schemas.openxmlformats.org/drawingml/2006/chartDrawing">
    <cdr:from>
      <cdr:x>0.77845</cdr:x>
      <cdr:y>0.03339</cdr:y>
    </cdr:from>
    <cdr:to>
      <cdr:x>0.80327</cdr:x>
      <cdr:y>0.112</cdr:y>
    </cdr:to>
    <cdr:pic>
      <cdr:nvPicPr>
        <cdr:cNvPr id="21"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7171180" y="101144"/>
          <a:ext cx="228571" cy="238095"/>
        </a:xfrm>
        <a:prstGeom xmlns:a="http://schemas.openxmlformats.org/drawingml/2006/main" prst="rect">
          <a:avLst/>
        </a:prstGeom>
      </cdr:spPr>
    </cdr:pic>
  </cdr:relSizeAnchor>
  <cdr:relSizeAnchor xmlns:cdr="http://schemas.openxmlformats.org/drawingml/2006/chartDrawing">
    <cdr:from>
      <cdr:x>0.73445</cdr:x>
      <cdr:y>0.25125</cdr:y>
    </cdr:from>
    <cdr:to>
      <cdr:x>0.75926</cdr:x>
      <cdr:y>0.32986</cdr:y>
    </cdr:to>
    <cdr:pic>
      <cdr:nvPicPr>
        <cdr:cNvPr id="22"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6765827" y="761020"/>
          <a:ext cx="228571" cy="238095"/>
        </a:xfrm>
        <a:prstGeom xmlns:a="http://schemas.openxmlformats.org/drawingml/2006/main" prst="rect">
          <a:avLst/>
        </a:prstGeom>
      </cdr:spPr>
    </cdr:pic>
  </cdr:relSizeAnchor>
  <cdr:relSizeAnchor xmlns:cdr="http://schemas.openxmlformats.org/drawingml/2006/chartDrawing">
    <cdr:from>
      <cdr:x>0.76924</cdr:x>
      <cdr:y>0.2637</cdr:y>
    </cdr:from>
    <cdr:to>
      <cdr:x>0.79406</cdr:x>
      <cdr:y>0.3423</cdr:y>
    </cdr:to>
    <cdr:pic>
      <cdr:nvPicPr>
        <cdr:cNvPr id="23"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7086339" y="798727"/>
          <a:ext cx="228571" cy="238095"/>
        </a:xfrm>
        <a:prstGeom xmlns:a="http://schemas.openxmlformats.org/drawingml/2006/main" prst="rect">
          <a:avLst/>
        </a:prstGeom>
      </cdr:spPr>
    </cdr:pic>
  </cdr:relSizeAnchor>
  <cdr:relSizeAnchor xmlns:cdr="http://schemas.openxmlformats.org/drawingml/2006/chartDrawing">
    <cdr:from>
      <cdr:x>0.83187</cdr:x>
      <cdr:y>0.04895</cdr:y>
    </cdr:from>
    <cdr:to>
      <cdr:x>0.85669</cdr:x>
      <cdr:y>0.12756</cdr:y>
    </cdr:to>
    <cdr:pic>
      <cdr:nvPicPr>
        <cdr:cNvPr id="24"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7663285" y="148278"/>
          <a:ext cx="228571" cy="238095"/>
        </a:xfrm>
        <a:prstGeom xmlns:a="http://schemas.openxmlformats.org/drawingml/2006/main" prst="rect">
          <a:avLst/>
        </a:prstGeom>
      </cdr:spPr>
    </cdr:pic>
  </cdr:relSizeAnchor>
  <cdr:relSizeAnchor xmlns:cdr="http://schemas.openxmlformats.org/drawingml/2006/chartDrawing">
    <cdr:from>
      <cdr:x>0.83187</cdr:x>
      <cdr:y>0.24502</cdr:y>
    </cdr:from>
    <cdr:to>
      <cdr:x>0.85669</cdr:x>
      <cdr:y>0.32363</cdr:y>
    </cdr:to>
    <cdr:pic>
      <cdr:nvPicPr>
        <cdr:cNvPr id="25"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7663285" y="742166"/>
          <a:ext cx="228571" cy="238095"/>
        </a:xfrm>
        <a:prstGeom xmlns:a="http://schemas.openxmlformats.org/drawingml/2006/main" prst="rect">
          <a:avLst/>
        </a:prstGeom>
      </cdr:spPr>
    </cdr:pic>
  </cdr:relSizeAnchor>
  <cdr:relSizeAnchor xmlns:cdr="http://schemas.openxmlformats.org/drawingml/2006/chartDrawing">
    <cdr:from>
      <cdr:x>0.33331</cdr:x>
      <cdr:y>0.44611</cdr:y>
    </cdr:from>
    <cdr:to>
      <cdr:x>0.35813</cdr:x>
      <cdr:y>0.52472</cdr:y>
    </cdr:to>
    <cdr:pic>
      <cdr:nvPicPr>
        <cdr:cNvPr id="26" name="chart">
          <a:extLst xmlns:a="http://schemas.openxmlformats.org/drawingml/2006/main">
            <a:ext uri="{FF2B5EF4-FFF2-40B4-BE49-F238E27FC236}">
              <a16:creationId xmlns:a16="http://schemas.microsoft.com/office/drawing/2014/main" id="{58DAD303-3D86-EFEA-6CEB-169285682DA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3070520" y="1351243"/>
          <a:ext cx="228571" cy="238095"/>
        </a:xfrm>
        <a:prstGeom xmlns:a="http://schemas.openxmlformats.org/drawingml/2006/main" prst="rect">
          <a:avLst/>
        </a:prstGeom>
      </cdr:spPr>
    </cdr:pic>
  </cdr:relSizeAnchor>
  <cdr:relSizeAnchor xmlns:cdr="http://schemas.openxmlformats.org/drawingml/2006/chartDrawing">
    <cdr:from>
      <cdr:x>0.15657</cdr:x>
      <cdr:y>0.5</cdr:y>
    </cdr:from>
    <cdr:to>
      <cdr:x>0.18345</cdr:x>
      <cdr:y>0.56917</cdr:y>
    </cdr:to>
    <cdr:pic>
      <cdr:nvPicPr>
        <cdr:cNvPr id="27" name="chart">
          <a:extLst xmlns:a="http://schemas.openxmlformats.org/drawingml/2006/main">
            <a:ext uri="{FF2B5EF4-FFF2-40B4-BE49-F238E27FC236}">
              <a16:creationId xmlns:a16="http://schemas.microsoft.com/office/drawing/2014/main" id="{5A19A69A-9457-E7B0-E7CC-2EECDEE3248D}"/>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1442301" y="1514475"/>
          <a:ext cx="247619" cy="209524"/>
        </a:xfrm>
        <a:prstGeom xmlns:a="http://schemas.openxmlformats.org/drawingml/2006/main" prst="rect">
          <a:avLst/>
        </a:prstGeom>
      </cdr:spPr>
    </cdr:pic>
  </cdr:relSizeAnchor>
  <cdr:relSizeAnchor xmlns:cdr="http://schemas.openxmlformats.org/drawingml/2006/chartDrawing">
    <cdr:from>
      <cdr:x>0.14531</cdr:x>
      <cdr:y>0.63801</cdr:y>
    </cdr:from>
    <cdr:to>
      <cdr:x>0.17219</cdr:x>
      <cdr:y>0.70718</cdr:y>
    </cdr:to>
    <cdr:pic>
      <cdr:nvPicPr>
        <cdr:cNvPr id="28" name="chart">
          <a:extLst xmlns:a="http://schemas.openxmlformats.org/drawingml/2006/main">
            <a:ext uri="{FF2B5EF4-FFF2-40B4-BE49-F238E27FC236}">
              <a16:creationId xmlns:a16="http://schemas.microsoft.com/office/drawing/2014/main" id="{0172F819-1840-B777-BFDC-EDC9E397CAA3}"/>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1338606" y="1932494"/>
          <a:ext cx="247619" cy="209524"/>
        </a:xfrm>
        <a:prstGeom xmlns:a="http://schemas.openxmlformats.org/drawingml/2006/main" prst="rect">
          <a:avLst/>
        </a:prstGeom>
      </cdr:spPr>
    </cdr:pic>
  </cdr:relSizeAnchor>
  <cdr:relSizeAnchor xmlns:cdr="http://schemas.openxmlformats.org/drawingml/2006/chartDrawing">
    <cdr:from>
      <cdr:x>0.19852</cdr:x>
      <cdr:y>0.62556</cdr:y>
    </cdr:from>
    <cdr:to>
      <cdr:x>0.2254</cdr:x>
      <cdr:y>0.69473</cdr:y>
    </cdr:to>
    <cdr:pic>
      <cdr:nvPicPr>
        <cdr:cNvPr id="29" name="chart">
          <a:extLst xmlns:a="http://schemas.openxmlformats.org/drawingml/2006/main">
            <a:ext uri="{FF2B5EF4-FFF2-40B4-BE49-F238E27FC236}">
              <a16:creationId xmlns:a16="http://schemas.microsoft.com/office/drawing/2014/main" id="{8DA06636-9EEB-45D2-5939-DD587C30C509}"/>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1828800" y="1894788"/>
          <a:ext cx="247619" cy="209524"/>
        </a:xfrm>
        <a:prstGeom xmlns:a="http://schemas.openxmlformats.org/drawingml/2006/main" prst="rect">
          <a:avLst/>
        </a:prstGeom>
      </cdr:spPr>
    </cdr:pic>
  </cdr:relSizeAnchor>
  <cdr:relSizeAnchor xmlns:cdr="http://schemas.openxmlformats.org/drawingml/2006/chartDrawing">
    <cdr:from>
      <cdr:x>0.24355</cdr:x>
      <cdr:y>0.61622</cdr:y>
    </cdr:from>
    <cdr:to>
      <cdr:x>0.27043</cdr:x>
      <cdr:y>0.6854</cdr:y>
    </cdr:to>
    <cdr:pic>
      <cdr:nvPicPr>
        <cdr:cNvPr id="30" name="chart">
          <a:extLst xmlns:a="http://schemas.openxmlformats.org/drawingml/2006/main">
            <a:ext uri="{FF2B5EF4-FFF2-40B4-BE49-F238E27FC236}">
              <a16:creationId xmlns:a16="http://schemas.microsoft.com/office/drawing/2014/main" id="{CEF58E44-625A-4A05-AB96-006E9282779C}"/>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2243579" y="1866507"/>
          <a:ext cx="247619" cy="209524"/>
        </a:xfrm>
        <a:prstGeom xmlns:a="http://schemas.openxmlformats.org/drawingml/2006/main" prst="rect">
          <a:avLst/>
        </a:prstGeom>
      </cdr:spPr>
    </cdr:pic>
  </cdr:relSizeAnchor>
  <cdr:relSizeAnchor xmlns:cdr="http://schemas.openxmlformats.org/drawingml/2006/chartDrawing">
    <cdr:from>
      <cdr:x>0.28755</cdr:x>
      <cdr:y>0.57265</cdr:y>
    </cdr:from>
    <cdr:to>
      <cdr:x>0.31443</cdr:x>
      <cdr:y>0.64183</cdr:y>
    </cdr:to>
    <cdr:pic>
      <cdr:nvPicPr>
        <cdr:cNvPr id="31" name="chart">
          <a:extLst xmlns:a="http://schemas.openxmlformats.org/drawingml/2006/main">
            <a:ext uri="{FF2B5EF4-FFF2-40B4-BE49-F238E27FC236}">
              <a16:creationId xmlns:a16="http://schemas.microsoft.com/office/drawing/2014/main" id="{158EA058-EFDF-E126-CC51-0C6741510CCA}"/>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2648932" y="1734532"/>
          <a:ext cx="247619" cy="209524"/>
        </a:xfrm>
        <a:prstGeom xmlns:a="http://schemas.openxmlformats.org/drawingml/2006/main" prst="rect">
          <a:avLst/>
        </a:prstGeom>
      </cdr:spPr>
    </cdr:pic>
  </cdr:relSizeAnchor>
  <cdr:relSizeAnchor xmlns:cdr="http://schemas.openxmlformats.org/drawingml/2006/chartDrawing">
    <cdr:from>
      <cdr:x>0.24559</cdr:x>
      <cdr:y>0.46541</cdr:y>
    </cdr:from>
    <cdr:to>
      <cdr:x>0.27247</cdr:x>
      <cdr:y>0.53459</cdr:y>
    </cdr:to>
    <cdr:pic>
      <cdr:nvPicPr>
        <cdr:cNvPr id="32" name="chart">
          <a:extLst xmlns:a="http://schemas.openxmlformats.org/drawingml/2006/main">
            <a:ext uri="{FF2B5EF4-FFF2-40B4-BE49-F238E27FC236}">
              <a16:creationId xmlns:a16="http://schemas.microsoft.com/office/drawing/2014/main" id="{3AB433D8-007F-F528-74B8-1DE066F72E28}"/>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2262433" y="1409713"/>
          <a:ext cx="247619" cy="209524"/>
        </a:xfrm>
        <a:prstGeom xmlns:a="http://schemas.openxmlformats.org/drawingml/2006/main" prst="rect">
          <a:avLst/>
        </a:prstGeom>
      </cdr:spPr>
    </cdr:pic>
  </cdr:relSizeAnchor>
  <cdr:relSizeAnchor xmlns:cdr="http://schemas.openxmlformats.org/drawingml/2006/chartDrawing">
    <cdr:from>
      <cdr:x>0.29062</cdr:x>
      <cdr:y>0.46541</cdr:y>
    </cdr:from>
    <cdr:to>
      <cdr:x>0.3175</cdr:x>
      <cdr:y>0.53459</cdr:y>
    </cdr:to>
    <cdr:pic>
      <cdr:nvPicPr>
        <cdr:cNvPr id="33" name="chart">
          <a:extLst xmlns:a="http://schemas.openxmlformats.org/drawingml/2006/main">
            <a:ext uri="{FF2B5EF4-FFF2-40B4-BE49-F238E27FC236}">
              <a16:creationId xmlns:a16="http://schemas.microsoft.com/office/drawing/2014/main" id="{08F596E4-41A7-1FDC-5C56-DE52D09A10D4}"/>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2677212" y="1409713"/>
          <a:ext cx="247619" cy="209524"/>
        </a:xfrm>
        <a:prstGeom xmlns:a="http://schemas.openxmlformats.org/drawingml/2006/main" prst="rect">
          <a:avLst/>
        </a:prstGeom>
      </cdr:spPr>
    </cdr:pic>
  </cdr:relSizeAnchor>
  <cdr:relSizeAnchor xmlns:cdr="http://schemas.openxmlformats.org/drawingml/2006/chartDrawing">
    <cdr:from>
      <cdr:x>0.34114</cdr:x>
      <cdr:y>0.54759</cdr:y>
    </cdr:from>
    <cdr:to>
      <cdr:x>0.36802</cdr:x>
      <cdr:y>0.61676</cdr:y>
    </cdr:to>
    <cdr:pic>
      <cdr:nvPicPr>
        <cdr:cNvPr id="34" name="chart">
          <a:extLst xmlns:a="http://schemas.openxmlformats.org/drawingml/2006/main">
            <a:ext uri="{FF2B5EF4-FFF2-40B4-BE49-F238E27FC236}">
              <a16:creationId xmlns:a16="http://schemas.microsoft.com/office/drawing/2014/main" id="{67980671-7163-CBA1-1F87-813F3740C01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3142656" y="1658618"/>
          <a:ext cx="247619" cy="209524"/>
        </a:xfrm>
        <a:prstGeom xmlns:a="http://schemas.openxmlformats.org/drawingml/2006/main" prst="rect">
          <a:avLst/>
        </a:prstGeom>
      </cdr:spPr>
    </cdr:pic>
  </cdr:relSizeAnchor>
  <cdr:relSizeAnchor xmlns:cdr="http://schemas.openxmlformats.org/drawingml/2006/chartDrawing">
    <cdr:from>
      <cdr:x>0.38619</cdr:x>
      <cdr:y>0.52853</cdr:y>
    </cdr:from>
    <cdr:to>
      <cdr:x>0.41307</cdr:x>
      <cdr:y>0.5977</cdr:y>
    </cdr:to>
    <cdr:pic>
      <cdr:nvPicPr>
        <cdr:cNvPr id="35" name="chart">
          <a:extLst xmlns:a="http://schemas.openxmlformats.org/drawingml/2006/main">
            <a:ext uri="{FF2B5EF4-FFF2-40B4-BE49-F238E27FC236}">
              <a16:creationId xmlns:a16="http://schemas.microsoft.com/office/drawing/2014/main" id="{67980671-7163-CBA1-1F87-813F3740C01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3557571" y="1600883"/>
          <a:ext cx="247619" cy="209524"/>
        </a:xfrm>
        <a:prstGeom xmlns:a="http://schemas.openxmlformats.org/drawingml/2006/main" prst="rect">
          <a:avLst/>
        </a:prstGeom>
      </cdr:spPr>
    </cdr:pic>
  </cdr:relSizeAnchor>
  <cdr:relSizeAnchor xmlns:cdr="http://schemas.openxmlformats.org/drawingml/2006/chartDrawing">
    <cdr:from>
      <cdr:x>0.20351</cdr:x>
      <cdr:y>0.46541</cdr:y>
    </cdr:from>
    <cdr:to>
      <cdr:x>0.23039</cdr:x>
      <cdr:y>0.53459</cdr:y>
    </cdr:to>
    <cdr:pic>
      <cdr:nvPicPr>
        <cdr:cNvPr id="36" name="chart">
          <a:extLst xmlns:a="http://schemas.openxmlformats.org/drawingml/2006/main">
            <a:ext uri="{FF2B5EF4-FFF2-40B4-BE49-F238E27FC236}">
              <a16:creationId xmlns:a16="http://schemas.microsoft.com/office/drawing/2014/main" id="{67980671-7163-CBA1-1F87-813F3740C01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1874751" y="1409713"/>
          <a:ext cx="247619" cy="209524"/>
        </a:xfrm>
        <a:prstGeom xmlns:a="http://schemas.openxmlformats.org/drawingml/2006/main" prst="rect">
          <a:avLst/>
        </a:prstGeom>
      </cdr:spPr>
    </cdr:pic>
  </cdr:relSizeAnchor>
  <cdr:relSizeAnchor xmlns:cdr="http://schemas.openxmlformats.org/drawingml/2006/chartDrawing">
    <cdr:from>
      <cdr:x>0.4339</cdr:x>
      <cdr:y>0.52853</cdr:y>
    </cdr:from>
    <cdr:to>
      <cdr:x>0.46078</cdr:x>
      <cdr:y>0.5977</cdr:y>
    </cdr:to>
    <cdr:pic>
      <cdr:nvPicPr>
        <cdr:cNvPr id="37" name="chart">
          <a:extLst xmlns:a="http://schemas.openxmlformats.org/drawingml/2006/main">
            <a:ext uri="{FF2B5EF4-FFF2-40B4-BE49-F238E27FC236}">
              <a16:creationId xmlns:a16="http://schemas.microsoft.com/office/drawing/2014/main" id="{67980671-7163-CBA1-1F87-813F3740C01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3997122" y="1600883"/>
          <a:ext cx="247619" cy="209524"/>
        </a:xfrm>
        <a:prstGeom xmlns:a="http://schemas.openxmlformats.org/drawingml/2006/main" prst="rect">
          <a:avLst/>
        </a:prstGeom>
      </cdr:spPr>
    </cdr:pic>
  </cdr:relSizeAnchor>
  <cdr:relSizeAnchor xmlns:cdr="http://schemas.openxmlformats.org/drawingml/2006/chartDrawing">
    <cdr:from>
      <cdr:x>0.47312</cdr:x>
      <cdr:y>0.47265</cdr:y>
    </cdr:from>
    <cdr:to>
      <cdr:x>0.5</cdr:x>
      <cdr:y>0.54182</cdr:y>
    </cdr:to>
    <cdr:pic>
      <cdr:nvPicPr>
        <cdr:cNvPr id="38" name="chart">
          <a:extLst xmlns:a="http://schemas.openxmlformats.org/drawingml/2006/main">
            <a:ext uri="{FF2B5EF4-FFF2-40B4-BE49-F238E27FC236}">
              <a16:creationId xmlns:a16="http://schemas.microsoft.com/office/drawing/2014/main" id="{67980671-7163-CBA1-1F87-813F3740C01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4358422" y="1431624"/>
          <a:ext cx="247619" cy="209524"/>
        </a:xfrm>
        <a:prstGeom xmlns:a="http://schemas.openxmlformats.org/drawingml/2006/main" prst="rect">
          <a:avLst/>
        </a:prstGeom>
      </cdr:spPr>
    </cdr:pic>
  </cdr:relSizeAnchor>
  <cdr:relSizeAnchor xmlns:cdr="http://schemas.openxmlformats.org/drawingml/2006/chartDrawing">
    <cdr:from>
      <cdr:x>0.53203</cdr:x>
      <cdr:y>0.43083</cdr:y>
    </cdr:from>
    <cdr:to>
      <cdr:x>0.55891</cdr:x>
      <cdr:y>0.5</cdr:y>
    </cdr:to>
    <cdr:pic>
      <cdr:nvPicPr>
        <cdr:cNvPr id="39" name="chart">
          <a:extLst xmlns:a="http://schemas.openxmlformats.org/drawingml/2006/main">
            <a:ext uri="{FF2B5EF4-FFF2-40B4-BE49-F238E27FC236}">
              <a16:creationId xmlns:a16="http://schemas.microsoft.com/office/drawing/2014/main" id="{67980671-7163-CBA1-1F87-813F3740C01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4901066" y="1304951"/>
          <a:ext cx="247619" cy="209524"/>
        </a:xfrm>
        <a:prstGeom xmlns:a="http://schemas.openxmlformats.org/drawingml/2006/main" prst="rect">
          <a:avLst/>
        </a:prstGeom>
      </cdr:spPr>
    </cdr:pic>
  </cdr:relSizeAnchor>
  <cdr:relSizeAnchor xmlns:cdr="http://schemas.openxmlformats.org/drawingml/2006/chartDrawing">
    <cdr:from>
      <cdr:x>0.61438</cdr:x>
      <cdr:y>0.45383</cdr:y>
    </cdr:from>
    <cdr:to>
      <cdr:x>0.64126</cdr:x>
      <cdr:y>0.52301</cdr:y>
    </cdr:to>
    <cdr:pic>
      <cdr:nvPicPr>
        <cdr:cNvPr id="40" name="chart">
          <a:extLst xmlns:a="http://schemas.openxmlformats.org/drawingml/2006/main">
            <a:ext uri="{FF2B5EF4-FFF2-40B4-BE49-F238E27FC236}">
              <a16:creationId xmlns:a16="http://schemas.microsoft.com/office/drawing/2014/main" id="{67980671-7163-CBA1-1F87-813F3740C01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5659749" y="1374639"/>
          <a:ext cx="247619" cy="209524"/>
        </a:xfrm>
        <a:prstGeom xmlns:a="http://schemas.openxmlformats.org/drawingml/2006/main" prst="rect">
          <a:avLst/>
        </a:prstGeom>
      </cdr:spPr>
    </cdr:pic>
  </cdr:relSizeAnchor>
  <cdr:relSizeAnchor xmlns:cdr="http://schemas.openxmlformats.org/drawingml/2006/chartDrawing">
    <cdr:from>
      <cdr:x>0.7075</cdr:x>
      <cdr:y>0.29376</cdr:y>
    </cdr:from>
    <cdr:to>
      <cdr:x>0.73438</cdr:x>
      <cdr:y>0.36293</cdr:y>
    </cdr:to>
    <cdr:pic>
      <cdr:nvPicPr>
        <cdr:cNvPr id="41" name="chart">
          <a:extLst xmlns:a="http://schemas.openxmlformats.org/drawingml/2006/main">
            <a:ext uri="{FF2B5EF4-FFF2-40B4-BE49-F238E27FC236}">
              <a16:creationId xmlns:a16="http://schemas.microsoft.com/office/drawing/2014/main" id="{67980671-7163-CBA1-1F87-813F3740C01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6517588" y="889786"/>
          <a:ext cx="247619" cy="209524"/>
        </a:xfrm>
        <a:prstGeom xmlns:a="http://schemas.openxmlformats.org/drawingml/2006/main" prst="rect">
          <a:avLst/>
        </a:prstGeom>
      </cdr:spPr>
    </cdr:pic>
  </cdr:relSizeAnchor>
  <cdr:relSizeAnchor xmlns:cdr="http://schemas.openxmlformats.org/drawingml/2006/chartDrawing">
    <cdr:from>
      <cdr:x>0.80499</cdr:x>
      <cdr:y>0.29687</cdr:y>
    </cdr:from>
    <cdr:to>
      <cdr:x>0.83187</cdr:x>
      <cdr:y>0.36605</cdr:y>
    </cdr:to>
    <cdr:pic>
      <cdr:nvPicPr>
        <cdr:cNvPr id="42" name="chart">
          <a:extLst xmlns:a="http://schemas.openxmlformats.org/drawingml/2006/main">
            <a:ext uri="{FF2B5EF4-FFF2-40B4-BE49-F238E27FC236}">
              <a16:creationId xmlns:a16="http://schemas.microsoft.com/office/drawing/2014/main" id="{67980671-7163-CBA1-1F87-813F3740C012}"/>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2"/>
        <a:stretch xmlns:a="http://schemas.openxmlformats.org/drawingml/2006/main">
          <a:fillRect/>
        </a:stretch>
      </cdr:blipFill>
      <cdr:spPr>
        <a:xfrm xmlns:a="http://schemas.openxmlformats.org/drawingml/2006/main">
          <a:off x="7415666" y="899212"/>
          <a:ext cx="247619" cy="209524"/>
        </a:xfrm>
        <a:prstGeom xmlns:a="http://schemas.openxmlformats.org/drawingml/2006/main" prst="rect">
          <a:avLst/>
        </a:prstGeom>
      </cdr:spPr>
    </cdr:pic>
  </cdr:relSizeAnchor>
</c:userShapes>
</file>

<file path=ppt/drawings/drawing3.xml><?xml version="1.0" encoding="utf-8"?>
<c:userShapes xmlns:c="http://schemas.openxmlformats.org/drawingml/2006/chart">
  <cdr:relSizeAnchor xmlns:cdr="http://schemas.openxmlformats.org/drawingml/2006/chartDrawing">
    <cdr:from>
      <cdr:x>0.62796</cdr:x>
      <cdr:y>0.30553</cdr:y>
    </cdr:from>
    <cdr:to>
      <cdr:x>0.62796</cdr:x>
      <cdr:y>0.41121</cdr:y>
    </cdr:to>
    <cdr:cxnSp macro="">
      <cdr:nvCxnSpPr>
        <cdr:cNvPr id="3" name="Straight Arrow Connector 2">
          <a:extLst xmlns:a="http://schemas.openxmlformats.org/drawingml/2006/main">
            <a:ext uri="{FF2B5EF4-FFF2-40B4-BE49-F238E27FC236}">
              <a16:creationId xmlns:a16="http://schemas.microsoft.com/office/drawing/2014/main" id="{B67F0C23-4B70-6AA5-AD44-67467AC3F30A}"/>
            </a:ext>
          </a:extLst>
        </cdr:cNvPr>
        <cdr:cNvCxnSpPr/>
      </cdr:nvCxnSpPr>
      <cdr:spPr>
        <a:xfrm xmlns:a="http://schemas.openxmlformats.org/drawingml/2006/main">
          <a:off x="4614247" y="1526238"/>
          <a:ext cx="0" cy="527901"/>
        </a:xfrm>
        <a:prstGeom xmlns:a="http://schemas.openxmlformats.org/drawingml/2006/main" prst="straightConnector1">
          <a:avLst/>
        </a:prstGeom>
        <a:ln xmlns:a="http://schemas.openxmlformats.org/drawingml/2006/main" w="34925">
          <a:solidFill>
            <a:srgbClr val="FF0000"/>
          </a:solidFill>
          <a:headEnd type="triangle"/>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B97180D7-B1F7-0C4C-AC17-93CEAA59374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A64E4E00-8D2E-D84B-8088-45B873471C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3AF864-2CD3-6048-8DC4-485EC2838207}" type="datetimeFigureOut">
              <a:rPr lang="ru-RU" smtClean="0"/>
              <a:t>13.03.2023</a:t>
            </a:fld>
            <a:endParaRPr lang="ru-RU"/>
          </a:p>
        </p:txBody>
      </p:sp>
      <p:sp>
        <p:nvSpPr>
          <p:cNvPr id="4" name="Нижний колонтитул 3">
            <a:extLst>
              <a:ext uri="{FF2B5EF4-FFF2-40B4-BE49-F238E27FC236}">
                <a16:creationId xmlns:a16="http://schemas.microsoft.com/office/drawing/2014/main" id="{FC1EED8B-FB1F-374B-ABD1-FD309C613CB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12C18920-3B0C-8641-A550-47892747AAC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B1EF4A4-1C9C-8547-8028-E591E942DEB1}" type="slidenum">
              <a:rPr lang="ru-RU" smtClean="0"/>
              <a:t>‹#›</a:t>
            </a:fld>
            <a:endParaRPr lang="ru-RU"/>
          </a:p>
        </p:txBody>
      </p:sp>
    </p:spTree>
    <p:extLst>
      <p:ext uri="{BB962C8B-B14F-4D97-AF65-F5344CB8AC3E}">
        <p14:creationId xmlns:p14="http://schemas.microsoft.com/office/powerpoint/2010/main" val="16230105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3A9580-5DD1-2F48-9402-1A45898D33DB}" type="datetimeFigureOut">
              <a:rPr lang="ru-RU" smtClean="0"/>
              <a:t>13.03.2023</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7A977D-FD21-5343-9077-4BC06D1F8CA3}" type="slidenum">
              <a:rPr lang="ru-RU" smtClean="0"/>
              <a:t>‹#›</a:t>
            </a:fld>
            <a:endParaRPr lang="ru-RU"/>
          </a:p>
        </p:txBody>
      </p:sp>
    </p:spTree>
    <p:extLst>
      <p:ext uri="{BB962C8B-B14F-4D97-AF65-F5344CB8AC3E}">
        <p14:creationId xmlns:p14="http://schemas.microsoft.com/office/powerpoint/2010/main" val="65386979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http://8FB5843F48046975B704222F29D426D5.dms.sberbank.ru/8FB5843F48046975B704222F29D426D5-92DCC9725E0A03BFCF87C98938EC5031-F580345CCB2E5D2A12308062CC9D6F08/1.png" TargetMode="Externa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http://05311BFB0B7396CBCF59420FADC09062.dms.sberbank.ru/05311BFB0B7396CBCF59420FADC09062-A3706015402A346BAE2C7E4161CEDD42-AA08E215F1EBA7C368CDE302EC67DC4F/1.png" TargetMode="External"/><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3" Type="http://schemas.openxmlformats.org/officeDocument/2006/relationships/image" Target="http://5A9FAA11343EC11A72E306E41DBDD243.dms.sberbank.ru/5A9FAA11343EC11A72E306E41DBDD243-A3706015402A346BAE2C7E4161CEDD42-A43DBAE14D4A7BB44B4C51921CE89AF5/1.png" TargetMode="External"/><Relationship Id="rId2" Type="http://schemas.openxmlformats.org/officeDocument/2006/relationships/image" Target="http://5A9FAA11343EC11A72E306E41DBDD243.dms.sberbank.ru/5A9FAA11343EC11A72E306E41DBDD243-A3706015402A346BAE2C7E4161CEDD42-402F2720EE24403459B26CFD8111A0E2/1.png" TargetMode="External"/><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78B027483C7D8D513BF49F01B3104E69/1.png" TargetMode="External"/><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A43DBAE14D4A7BB44B4C51921CE89AF5/1.png" TargetMode="External"/><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http://05311BFB0B7396CBCF59420FADC09062.dms.sberbank.ru/05311BFB0B7396CBCF59420FADC09062-A43BE17F84EBF8A14D2FBB31548AE660-EA03F1F07397044467A7D5A37B53EE79/1.png" TargetMode="External"/><Relationship Id="rId5" Type="http://schemas.openxmlformats.org/officeDocument/2006/relationships/image" Target="NULL"/><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image" Target="../media/image10.png"/><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png"/><Relationship Id="rId1" Type="http://schemas.openxmlformats.org/officeDocument/2006/relationships/slideMaster" Target="../slideMasters/slideMaster7.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3.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5.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9.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5.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ABD1954582B367FE0B5E580EEE7824CD/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3.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2.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1.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1.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19.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5.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7.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4.png"/></Relationships>
</file>

<file path=ppt/slideLayouts/_rels/slideLayout43.xml.rels><?xml version="1.0" encoding="UTF-8" standalone="yes"?>
<Relationships xmlns="http://schemas.openxmlformats.org/package/2006/relationships"><Relationship Id="rId3" Type="http://schemas.openxmlformats.org/officeDocument/2006/relationships/image" Target="http://DF3E5075026D06B109AE70DBF9D6CDD1.dms.sberbank.ru/DF3E5075026D06B109AE70DBF9D6CDD1-92DCC9725E0A03BFCF87C98938EC5031-7C306E030999F7BF689A16489D167D10/1.png" TargetMode="External"/><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http://D0340E7D5E8451B36CF9DE5E517AB11D.dms.sberbank.ru/D0340E7D5E8451B36CF9DE5E517AB11D-76E77F61EA6BF346E8CD249421A1F0C6-979C24910635A5F09AF6D68FE94A4CA8/1.png" TargetMode="External"/><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http://277CFEF32177A4B1AA838F1AC8627F3C.dms.sberbank.ru/277CFEF32177A4B1AA838F1AC8627F3C-D721484550977C95F98CF7A7709B105F-B058A5EA472CB7D47202A9B873626704/1.png" TargetMode="External"/><Relationship Id="rId5" Type="http://schemas.openxmlformats.org/officeDocument/2006/relationships/image" Target="NULL"/><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t>‹#›</a:t>
            </a:fld>
            <a:endParaRPr lang="ru-RU" dirty="0"/>
          </a:p>
        </p:txBody>
      </p:sp>
      <p:pic>
        <p:nvPicPr>
          <p:cNvPr id="2" name="Рисунок 1"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pic>
        <p:nvPicPr>
          <p:cNvPr id="3" name="Рисунок 2"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764765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1453231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на фоне">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12192000" cy="6858000"/>
          </a:xfrm>
          <a:prstGeom prst="rect">
            <a:avLst/>
          </a:prstGeom>
        </p:spPr>
        <p:txBody>
          <a:bodyPr lIns="68580" tIns="34290" rIns="68580" bIns="34290"/>
          <a:lstStyle>
            <a:lvl1pPr>
              <a:defRPr sz="1200">
                <a:solidFill>
                  <a:schemeClr val="bg1"/>
                </a:solidFill>
              </a:defRPr>
            </a:lvl1pPr>
          </a:lstStyle>
          <a:p>
            <a:endParaRPr lang="en-US" dirty="0"/>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dirty="0"/>
              <a:t>Название презентации</a:t>
            </a:r>
            <a:endParaRPr lang="en-US" dirty="0"/>
          </a:p>
        </p:txBody>
      </p:sp>
      <p:sp>
        <p:nvSpPr>
          <p:cNvPr id="4" name="Text Placeholder 3"/>
          <p:cNvSpPr>
            <a:spLocks noGrp="1"/>
          </p:cNvSpPr>
          <p:nvPr>
            <p:ph type="body" sz="quarter" idx="12" hasCustomPrompt="1"/>
          </p:nvPr>
        </p:nvSpPr>
        <p:spPr>
          <a:xfrm>
            <a:off x="587378" y="4344989"/>
            <a:ext cx="7561263"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6"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dirty="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15145105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под градиентом">
    <p:spTree>
      <p:nvGrpSpPr>
        <p:cNvPr id="1" name=""/>
        <p:cNvGrpSpPr/>
        <p:nvPr/>
      </p:nvGrpSpPr>
      <p:grpSpPr>
        <a:xfrm>
          <a:off x="0" y="0"/>
          <a:ext cx="0" cy="0"/>
          <a:chOff x="0" y="0"/>
          <a:chExt cx="0" cy="0"/>
        </a:xfrm>
      </p:grpSpPr>
      <p:sp>
        <p:nvSpPr>
          <p:cNvPr id="5" name="Rectangle 4"/>
          <p:cNvSpPr/>
          <p:nvPr userDrawn="1"/>
        </p:nvSpPr>
        <p:spPr>
          <a:xfrm rot="10800000">
            <a:off x="-5245" y="0"/>
            <a:ext cx="12197249" cy="6858000"/>
          </a:xfrm>
          <a:prstGeom prst="rect">
            <a:avLst/>
          </a:prstGeom>
          <a:gradFill flip="none" rotWithShape="1">
            <a:gsLst>
              <a:gs pos="6000">
                <a:schemeClr val="accent2">
                  <a:alpha val="70000"/>
                </a:schemeClr>
              </a:gs>
              <a:gs pos="95000">
                <a:schemeClr val="accent6"/>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dirty="0">
              <a:solidFill>
                <a:srgbClr val="FFFFFF"/>
              </a:solidFill>
            </a:endParaRPr>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a:t>Название презентации</a:t>
            </a:r>
            <a:endParaRPr lang="en-US"/>
          </a:p>
        </p:txBody>
      </p:sp>
      <p:sp>
        <p:nvSpPr>
          <p:cNvPr id="4" name="Text Placeholder 3"/>
          <p:cNvSpPr>
            <a:spLocks noGrp="1"/>
          </p:cNvSpPr>
          <p:nvPr>
            <p:ph type="body" sz="quarter" idx="12" hasCustomPrompt="1"/>
          </p:nvPr>
        </p:nvSpPr>
        <p:spPr>
          <a:xfrm>
            <a:off x="587376" y="4344989"/>
            <a:ext cx="7561261"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7"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dirty="0">
              <a:solidFill>
                <a:srgbClr val="FFFFFF"/>
              </a:solidFill>
              <a:effectLst>
                <a:outerShdw blurRad="38100" dist="12700" dir="5400000" rotWithShape="0">
                  <a:srgbClr val="000000">
                    <a:alpha val="50000"/>
                  </a:srgbClr>
                </a:outerShdw>
              </a:effectLst>
            </a:endParaRPr>
          </a:p>
        </p:txBody>
      </p:sp>
      <p:pic>
        <p:nvPicPr>
          <p:cNvPr id="2" name="Рисунок 1" descr="http://05311BFB0B7396CBCF59420FADC09062.dms.sberbank.ru/05311BFB0B7396CBCF59420FADC09062-A3706015402A346BAE2C7E4161CEDD42-AA08E215F1EBA7C368CDE302EC67DC4F/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41575892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3021841772"/>
              </p:ext>
            </p:extLst>
          </p:nvPr>
        </p:nvGraphicFramePr>
        <p:xfrm>
          <a:off x="2034" y="1592"/>
          <a:ext cx="2015" cy="1587"/>
        </p:xfrm>
        <a:graphic>
          <a:graphicData uri="http://schemas.openxmlformats.org/presentationml/2006/ole">
            <mc:AlternateContent xmlns:mc="http://schemas.openxmlformats.org/markup-compatibility/2006">
              <mc:Choice xmlns:v="urn:schemas-microsoft-com:vml" Requires="v">
                <p:oleObj name="Слайд think-cell" r:id="rId3" imgW="360" imgH="360" progId="TCLayout.ActiveDocument.1">
                  <p:embed/>
                </p:oleObj>
              </mc:Choice>
              <mc:Fallback>
                <p:oleObj name="Слайд think-cell" r:id="rId3" imgW="360" imgH="360" progId="TCLayout.ActiveDocument.1">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4" y="1592"/>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0" descr="SBRF-9129.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783245" y="4077091"/>
            <a:ext cx="4408755" cy="2780927"/>
          </a:xfrm>
          <a:prstGeom prst="rect">
            <a:avLst/>
          </a:prstGeom>
        </p:spPr>
      </p:pic>
      <p:sp>
        <p:nvSpPr>
          <p:cNvPr id="2" name="Title 1"/>
          <p:cNvSpPr>
            <a:spLocks noGrp="1"/>
          </p:cNvSpPr>
          <p:nvPr>
            <p:ph type="ctrTitle"/>
          </p:nvPr>
        </p:nvSpPr>
        <p:spPr>
          <a:xfrm>
            <a:off x="1483455" y="2130445"/>
            <a:ext cx="9794161" cy="1470025"/>
          </a:xfrm>
          <a:prstGeom prst="rect">
            <a:avLst/>
          </a:prstGeom>
        </p:spPr>
        <p:txBody>
          <a:bodyPr lIns="91438" tIns="45719" rIns="91438" bIns="45719">
            <a:normAutofit/>
          </a:bodyPr>
          <a:lstStyle>
            <a:lvl1pPr>
              <a:defRPr sz="32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483440" y="3886200"/>
            <a:ext cx="6449725" cy="1752600"/>
          </a:xfrm>
          <a:prstGeom prst="rect">
            <a:avLst/>
          </a:prstGeom>
        </p:spPr>
        <p:txBody>
          <a:bodyPr lIns="91438" tIns="45719" rIns="91438" bIns="45719">
            <a:normAutofit/>
          </a:bodyPr>
          <a:lstStyle>
            <a:lvl1pPr marL="0" indent="0" algn="l">
              <a:buNone/>
              <a:defRPr sz="2267">
                <a:solidFill>
                  <a:schemeClr val="accent3"/>
                </a:solidFill>
              </a:defRPr>
            </a:lvl1pPr>
            <a:lvl2pPr marL="528605" indent="0" algn="ctr">
              <a:buNone/>
              <a:defRPr>
                <a:solidFill>
                  <a:schemeClr val="tx1">
                    <a:tint val="75000"/>
                  </a:schemeClr>
                </a:solidFill>
              </a:defRPr>
            </a:lvl2pPr>
            <a:lvl3pPr marL="1057214" indent="0" algn="ctr">
              <a:buNone/>
              <a:defRPr>
                <a:solidFill>
                  <a:schemeClr val="tx1">
                    <a:tint val="75000"/>
                  </a:schemeClr>
                </a:solidFill>
              </a:defRPr>
            </a:lvl3pPr>
            <a:lvl4pPr marL="1585816" indent="0" algn="ctr">
              <a:buNone/>
              <a:defRPr>
                <a:solidFill>
                  <a:schemeClr val="tx1">
                    <a:tint val="75000"/>
                  </a:schemeClr>
                </a:solidFill>
              </a:defRPr>
            </a:lvl4pPr>
            <a:lvl5pPr marL="2114422" indent="0" algn="ctr">
              <a:buNone/>
              <a:defRPr>
                <a:solidFill>
                  <a:schemeClr val="tx1">
                    <a:tint val="75000"/>
                  </a:schemeClr>
                </a:solidFill>
              </a:defRPr>
            </a:lvl5pPr>
            <a:lvl6pPr marL="2643019" indent="0" algn="ctr">
              <a:buNone/>
              <a:defRPr>
                <a:solidFill>
                  <a:schemeClr val="tx1">
                    <a:tint val="75000"/>
                  </a:schemeClr>
                </a:solidFill>
              </a:defRPr>
            </a:lvl6pPr>
            <a:lvl7pPr marL="3171631" indent="0" algn="ctr">
              <a:buNone/>
              <a:defRPr>
                <a:solidFill>
                  <a:schemeClr val="tx1">
                    <a:tint val="75000"/>
                  </a:schemeClr>
                </a:solidFill>
              </a:defRPr>
            </a:lvl7pPr>
            <a:lvl8pPr marL="3700241" indent="0" algn="ctr">
              <a:buNone/>
              <a:defRPr>
                <a:solidFill>
                  <a:schemeClr val="tx1">
                    <a:tint val="75000"/>
                  </a:schemeClr>
                </a:solidFill>
              </a:defRPr>
            </a:lvl8pPr>
            <a:lvl9pPr marL="4228845" indent="0" algn="ctr">
              <a:buNone/>
              <a:defRPr>
                <a:solidFill>
                  <a:schemeClr val="tx1">
                    <a:tint val="75000"/>
                  </a:schemeClr>
                </a:solidFill>
              </a:defRPr>
            </a:lvl9pPr>
          </a:lstStyle>
          <a:p>
            <a:r>
              <a:rPr lang="en-US" dirty="0"/>
              <a:t>Click to edit Master subtitle style</a:t>
            </a:r>
          </a:p>
        </p:txBody>
      </p:sp>
      <p:sp>
        <p:nvSpPr>
          <p:cNvPr id="4" name="Subnomenclature"/>
          <p:cNvSpPr txBox="1"/>
          <p:nvPr userDrawn="1"/>
        </p:nvSpPr>
        <p:spPr>
          <a:xfrm>
            <a:off x="1146859" y="6406638"/>
            <a:ext cx="65" cy="184666"/>
          </a:xfrm>
          <a:prstGeom prst="rect">
            <a:avLst/>
          </a:prstGeom>
          <a:noFill/>
        </p:spPr>
        <p:txBody>
          <a:bodyPr vert="horz" wrap="none" lIns="0" tIns="0" rIns="0" bIns="0" rtlCol="0" anchor="b">
            <a:spAutoFit/>
          </a:bodyPr>
          <a:lstStyle/>
          <a:p>
            <a:pPr defTabSz="914377">
              <a:spcBef>
                <a:spcPts val="695"/>
              </a:spcBef>
            </a:pPr>
            <a:endParaRPr lang="en-US" sz="1200" b="1" dirty="0">
              <a:solidFill>
                <a:srgbClr val="DC0F00"/>
              </a:solidFill>
            </a:endParaRPr>
          </a:p>
        </p:txBody>
      </p:sp>
      <p:pic>
        <p:nvPicPr>
          <p:cNvPr id="6" name="Picture 3" descr="C:\Users\amosova-pn\Desktop\Информация\Амосовой Полине\Бренд\есть\Логотипы\PI_S1\PI_S1_RGB.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52532" y="326817"/>
            <a:ext cx="3346837" cy="869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4438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9_Title Slide">
    <p:spTree>
      <p:nvGrpSpPr>
        <p:cNvPr id="1" name=""/>
        <p:cNvGrpSpPr/>
        <p:nvPr/>
      </p:nvGrpSpPr>
      <p:grpSpPr>
        <a:xfrm>
          <a:off x="0" y="0"/>
          <a:ext cx="0" cy="0"/>
          <a:chOff x="0" y="0"/>
          <a:chExt cx="0" cy="0"/>
        </a:xfrm>
      </p:grpSpPr>
      <p:cxnSp>
        <p:nvCxnSpPr>
          <p:cNvPr id="10" name="Straight Connector 9"/>
          <p:cNvCxnSpPr/>
          <p:nvPr/>
        </p:nvCxnSpPr>
        <p:spPr>
          <a:xfrm>
            <a:off x="0" y="958177"/>
            <a:ext cx="12192000" cy="0"/>
          </a:xfrm>
          <a:prstGeom prst="line">
            <a:avLst/>
          </a:prstGeom>
          <a:ln>
            <a:solidFill>
              <a:srgbClr val="95C43F"/>
            </a:solidFill>
          </a:ln>
          <a:effectLst/>
        </p:spPr>
        <p:style>
          <a:lnRef idx="2">
            <a:schemeClr val="accent1"/>
          </a:lnRef>
          <a:fillRef idx="0">
            <a:schemeClr val="accent1"/>
          </a:fillRef>
          <a:effectRef idx="1">
            <a:schemeClr val="accent1"/>
          </a:effectRef>
          <a:fontRef idx="minor">
            <a:schemeClr val="tx1"/>
          </a:fontRef>
        </p:style>
      </p:cxnSp>
      <p:sp>
        <p:nvSpPr>
          <p:cNvPr id="4" name="Заголовок 3"/>
          <p:cNvSpPr>
            <a:spLocks noGrp="1"/>
          </p:cNvSpPr>
          <p:nvPr>
            <p:ph type="title"/>
          </p:nvPr>
        </p:nvSpPr>
        <p:spPr>
          <a:xfrm>
            <a:off x="117645" y="97164"/>
            <a:ext cx="8571272" cy="769109"/>
          </a:xfrm>
          <a:prstGeom prst="rect">
            <a:avLst/>
          </a:prstGeom>
        </p:spPr>
        <p:txBody>
          <a:bodyPr lIns="91438" tIns="45719" rIns="91438" bIns="45719"/>
          <a:lstStyle/>
          <a:p>
            <a:r>
              <a:rPr lang="ru-RU"/>
              <a:t>Образец заголовка</a:t>
            </a:r>
          </a:p>
        </p:txBody>
      </p:sp>
      <p:sp>
        <p:nvSpPr>
          <p:cNvPr id="8" name="TextBox 7"/>
          <p:cNvSpPr txBox="1"/>
          <p:nvPr userDrawn="1"/>
        </p:nvSpPr>
        <p:spPr>
          <a:xfrm>
            <a:off x="11472601" y="6453344"/>
            <a:ext cx="719403" cy="410431"/>
          </a:xfrm>
          <a:prstGeom prst="rect">
            <a:avLst/>
          </a:prstGeom>
          <a:noFill/>
        </p:spPr>
        <p:txBody>
          <a:bodyPr wrap="square" lIns="121917" tIns="60959" rIns="121917" bIns="60959" rtlCol="0">
            <a:spAutoFit/>
          </a:bodyPr>
          <a:lstStyle/>
          <a:p>
            <a:pPr defTabSz="1219140"/>
            <a:fld id="{91AD4EB0-CEB3-4892-90AA-400FF97E5AC3}" type="slidenum">
              <a:rPr lang="ru-RU" sz="1867" smtClean="0">
                <a:solidFill>
                  <a:srgbClr val="000000"/>
                </a:solidFill>
                <a:cs typeface="Calibri" panose="020F0502020204030204" pitchFamily="34" charset="0"/>
              </a:rPr>
              <a:pPr defTabSz="1219140"/>
              <a:t>‹#›</a:t>
            </a:fld>
            <a:endParaRPr lang="ru-RU" sz="1867" dirty="0">
              <a:solidFill>
                <a:srgbClr val="000000"/>
              </a:solidFill>
              <a:cs typeface="Calibri" panose="020F0502020204030204" pitchFamily="34" charset="0"/>
            </a:endParaRPr>
          </a:p>
        </p:txBody>
      </p:sp>
      <p:pic>
        <p:nvPicPr>
          <p:cNvPr id="7" name="Picture 7" descr="Screen Shot 2013-12-24 at 12.16.4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5693" y="163113"/>
            <a:ext cx="2035531" cy="637215"/>
          </a:xfrm>
          <a:prstGeom prst="rect">
            <a:avLst/>
          </a:prstGeom>
        </p:spPr>
      </p:pic>
    </p:spTree>
    <p:extLst>
      <p:ext uri="{BB962C8B-B14F-4D97-AF65-F5344CB8AC3E}">
        <p14:creationId xmlns:p14="http://schemas.microsoft.com/office/powerpoint/2010/main" val="6255048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 колонки текст + цитата справа">
    <p:spTree>
      <p:nvGrpSpPr>
        <p:cNvPr id="1" name=""/>
        <p:cNvGrpSpPr/>
        <p:nvPr/>
      </p:nvGrpSpPr>
      <p:grpSpPr>
        <a:xfrm>
          <a:off x="0" y="0"/>
          <a:ext cx="0" cy="0"/>
          <a:chOff x="0" y="0"/>
          <a:chExt cx="0" cy="0"/>
        </a:xfrm>
      </p:grpSpPr>
      <p:sp>
        <p:nvSpPr>
          <p:cNvPr id="8" name="Rectangle 7"/>
          <p:cNvSpPr/>
          <p:nvPr userDrawn="1"/>
        </p:nvSpPr>
        <p:spPr>
          <a:xfrm>
            <a:off x="0" y="-9177"/>
            <a:ext cx="12192000" cy="882357"/>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28575" rtlCol="0" anchor="ctr">
            <a:spAutoFit/>
          </a:bodyPr>
          <a:lstStyle/>
          <a:p>
            <a:pPr algn="ctr" defTabSz="736582" hangingPunct="0"/>
            <a:endParaRPr lang="en-US" sz="5067" dirty="0">
              <a:solidFill>
                <a:srgbClr val="FFFFFF"/>
              </a:solidFill>
              <a:effectLst>
                <a:outerShdw blurRad="38100" dist="12700" dir="5400000" rotWithShape="0">
                  <a:srgbClr val="000000">
                    <a:alpha val="50000"/>
                  </a:srgbClr>
                </a:outerShdw>
              </a:effectLst>
              <a:sym typeface="Gill Sans"/>
            </a:endParaRPr>
          </a:p>
        </p:txBody>
      </p:sp>
      <p:sp>
        <p:nvSpPr>
          <p:cNvPr id="4" name="Text Placeholder 3"/>
          <p:cNvSpPr>
            <a:spLocks noGrp="1"/>
          </p:cNvSpPr>
          <p:nvPr>
            <p:ph type="body" sz="quarter" idx="12"/>
          </p:nvPr>
        </p:nvSpPr>
        <p:spPr>
          <a:xfrm>
            <a:off x="8509001" y="783772"/>
            <a:ext cx="3683001" cy="599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1053000" rIns="540000" bIns="34290" rtlCol="0" anchor="t"/>
          <a:lstStyle>
            <a:lvl1pPr marL="227008" indent="0">
              <a:lnSpc>
                <a:spcPct val="100000"/>
              </a:lnSpc>
              <a:spcBef>
                <a:spcPts val="600"/>
              </a:spcBef>
              <a:tabLst/>
              <a:defRPr lang="en-US" sz="2000">
                <a:solidFill>
                  <a:srgbClr val="FFFFFF"/>
                </a:solidFill>
                <a:latin typeface="Calibri Light"/>
                <a:ea typeface="+mn-ea"/>
                <a:cs typeface="+mn-cs"/>
              </a:defRPr>
            </a:lvl1pPr>
          </a:lstStyle>
          <a:p>
            <a:pPr marL="182558" lvl="0"/>
            <a:r>
              <a:rPr lang="en-US"/>
              <a:t>Click to edit Master text styles</a:t>
            </a:r>
          </a:p>
        </p:txBody>
      </p:sp>
      <p:sp>
        <p:nvSpPr>
          <p:cNvPr id="16" name="Title 1"/>
          <p:cNvSpPr>
            <a:spLocks noGrp="1"/>
          </p:cNvSpPr>
          <p:nvPr>
            <p:ph type="title"/>
          </p:nvPr>
        </p:nvSpPr>
        <p:spPr>
          <a:xfrm>
            <a:off x="587375" y="1"/>
            <a:ext cx="7596188" cy="872640"/>
          </a:xfrm>
          <a:prstGeom prst="rect">
            <a:avLst/>
          </a:prstGeom>
        </p:spPr>
        <p:txBody>
          <a:bodyPr lIns="68580" tIns="34290" rIns="68580" bIns="34290"/>
          <a:lstStyle>
            <a:lvl1pPr>
              <a:defRPr>
                <a:latin typeface="+mj-lt"/>
              </a:defRPr>
            </a:lvl1pPr>
          </a:lstStyle>
          <a:p>
            <a:r>
              <a:rPr lang="en-US" dirty="0"/>
              <a:t>Click to edit Master title style</a:t>
            </a:r>
          </a:p>
        </p:txBody>
      </p:sp>
      <p:sp>
        <p:nvSpPr>
          <p:cNvPr id="11" name="Text Placeholder 10"/>
          <p:cNvSpPr>
            <a:spLocks noGrp="1"/>
          </p:cNvSpPr>
          <p:nvPr>
            <p:ph type="body" sz="quarter" idx="14"/>
          </p:nvPr>
        </p:nvSpPr>
        <p:spPr>
          <a:xfrm>
            <a:off x="587377" y="1268413"/>
            <a:ext cx="7596505" cy="814843"/>
          </a:xfrm>
          <a:prstGeom prst="rect">
            <a:avLst/>
          </a:prstGeom>
        </p:spPr>
        <p:txBody>
          <a:bodyPr lIns="68580" tIns="34290" rIns="68580" bIns="34290" numCol="1" spcCol="270000"/>
          <a:lstStyle>
            <a:lvl1pPr>
              <a:lnSpc>
                <a:spcPct val="100000"/>
              </a:lnSpc>
              <a:spcBef>
                <a:spcPts val="600"/>
              </a:spcBef>
              <a:defRPr sz="2000">
                <a:solidFill>
                  <a:schemeClr val="accent5"/>
                </a:solidFill>
                <a:latin typeface="+mj-lt"/>
              </a:defRPr>
            </a:lvl1pPr>
            <a:lvl2pPr>
              <a:defRPr sz="1867">
                <a:latin typeface="+mj-lt"/>
              </a:defRPr>
            </a:lvl2pPr>
            <a:lvl3pPr>
              <a:defRPr sz="1867">
                <a:latin typeface="+mj-lt"/>
              </a:defRPr>
            </a:lvl3pPr>
            <a:lvl4pPr>
              <a:defRPr sz="1867">
                <a:latin typeface="+mj-lt"/>
              </a:defRPr>
            </a:lvl4pPr>
            <a:lvl5pPr>
              <a:defRPr sz="1867">
                <a:latin typeface="+mj-lt"/>
              </a:defRPr>
            </a:lvl5pPr>
          </a:lstStyle>
          <a:p>
            <a:pPr lvl="0"/>
            <a:r>
              <a:rPr lang="en-US"/>
              <a:t>Click to edit Master text styles</a:t>
            </a:r>
          </a:p>
        </p:txBody>
      </p:sp>
      <p:sp>
        <p:nvSpPr>
          <p:cNvPr id="9" name="Picture Placeholder 3"/>
          <p:cNvSpPr>
            <a:spLocks noGrp="1"/>
          </p:cNvSpPr>
          <p:nvPr>
            <p:ph type="pic" sz="quarter" idx="72" hasCustomPrompt="1"/>
          </p:nvPr>
        </p:nvSpPr>
        <p:spPr>
          <a:xfrm>
            <a:off x="8799522" y="1268413"/>
            <a:ext cx="812479" cy="814843"/>
          </a:xfrm>
          <a:prstGeom prst="rect">
            <a:avLst/>
          </a:prstGeom>
        </p:spPr>
        <p:txBody>
          <a:bodyPr lIns="68580" tIns="34290" rIns="68580" bIns="34290" anchor="ctr"/>
          <a:lstStyle>
            <a:lvl1pPr algn="ctr">
              <a:defRPr sz="1467" i="1">
                <a:solidFill>
                  <a:schemeClr val="bg1"/>
                </a:solidFill>
              </a:defRPr>
            </a:lvl1pPr>
          </a:lstStyle>
          <a:p>
            <a:r>
              <a:rPr lang="ru-RU" dirty="0"/>
              <a:t>иконка</a:t>
            </a:r>
            <a:endParaRPr lang="en-US" dirty="0"/>
          </a:p>
        </p:txBody>
      </p:sp>
      <p:sp>
        <p:nvSpPr>
          <p:cNvPr id="3" name="Text Placeholder 2"/>
          <p:cNvSpPr>
            <a:spLocks noGrp="1"/>
          </p:cNvSpPr>
          <p:nvPr>
            <p:ph type="body" sz="quarter" idx="73"/>
          </p:nvPr>
        </p:nvSpPr>
        <p:spPr>
          <a:xfrm>
            <a:off x="587375" y="2827091"/>
            <a:ext cx="7596188" cy="3338760"/>
          </a:xfrm>
          <a:prstGeom prst="rect">
            <a:avLst/>
          </a:prstGeom>
        </p:spPr>
        <p:txBody>
          <a:bodyPr lIns="68580" tIns="34290" rIns="68580" bIns="34290"/>
          <a:lstStyle>
            <a:lvl1pPr marL="177796" indent="-177796">
              <a:spcBef>
                <a:spcPts val="400"/>
              </a:spcBef>
              <a:buFont typeface="Wingdings" charset="2"/>
              <a:buChar char="§"/>
              <a:tabLst/>
              <a:defRPr sz="1600">
                <a:latin typeface="+mj-lt"/>
              </a:defRPr>
            </a:lvl1pPr>
          </a:lstStyle>
          <a:p>
            <a:pPr lvl="0"/>
            <a:r>
              <a:rPr lang="en-US" dirty="0"/>
              <a:t>Click to edit Master text styles</a:t>
            </a:r>
          </a:p>
        </p:txBody>
      </p:sp>
      <p:sp>
        <p:nvSpPr>
          <p:cNvPr id="2" name="Rectangle 1"/>
          <p:cNvSpPr/>
          <p:nvPr userDrawn="1"/>
        </p:nvSpPr>
        <p:spPr>
          <a:xfrm>
            <a:off x="8509001" y="0"/>
            <a:ext cx="3683001" cy="86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dirty="0">
              <a:solidFill>
                <a:srgbClr val="FFFFFF"/>
              </a:solidFill>
            </a:endParaRPr>
          </a:p>
        </p:txBody>
      </p:sp>
      <p:sp>
        <p:nvSpPr>
          <p:cNvPr id="15" name="Shape"/>
          <p:cNvSpPr/>
          <p:nvPr userDrawn="1"/>
        </p:nvSpPr>
        <p:spPr>
          <a:xfrm>
            <a:off x="9991115" y="286073"/>
            <a:ext cx="1505560" cy="28335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dirty="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4108417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8" name="Рисунок 7" descr="http://5A9FAA11343EC11A72E306E41DBDD243.dms.sberbank.ru/5A9FAA11343EC11A72E306E41DBDD243-A3706015402A346BAE2C7E4161CEDD42-402F2720EE24403459B26CFD8111A0E2/1.png"/>
          <p:cNvPicPr>
            <a:picLocks/>
          </p:cNvPicPr>
          <p:nvPr userDrawn="1"/>
        </p:nvPicPr>
        <p:blipFill>
          <a:blip r:link="rId2"/>
          <a:stretch>
            <a:fillRect/>
          </a:stretch>
        </p:blipFill>
        <p:spPr>
          <a:xfrm>
            <a:off x="0" y="0"/>
            <a:ext cx="1588" cy="1588"/>
          </a:xfrm>
          <a:prstGeom prst="rect">
            <a:avLst/>
          </a:prstGeom>
        </p:spPr>
      </p:pic>
      <p:pic>
        <p:nvPicPr>
          <p:cNvPr id="9" name="Рисунок 8" descr="http://5A9FAA11343EC11A72E306E41DBDD243.dms.sberbank.ru/5A9FAA11343EC11A72E306E41DBDD243-A3706015402A346BAE2C7E4161CEDD42-A43DBAE14D4A7BB44B4C51921CE89AF5/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29132528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31" name="Рисунок 30" descr="http://5A9FAA11343EC11A72E306E41DBDD243.dms.sberbank.ru/5A9FAA11343EC11A72E306E41DBDD243-A3706015402A346BAE2C7E4161CEDD42-78B027483C7D8D513BF49F01B3104E69/1.png"/>
          <p:cNvPicPr>
            <a:picLocks/>
          </p:cNvPicPr>
          <p:nvPr userDrawn="1"/>
        </p:nvPicPr>
        <p:blipFill>
          <a:blip r:link="rId2"/>
          <a:stretch>
            <a:fillRect/>
          </a:stretch>
        </p:blipFill>
        <p:spPr>
          <a:xfrm>
            <a:off x="0" y="0"/>
            <a:ext cx="1588" cy="1588"/>
          </a:xfrm>
          <a:prstGeom prst="rect">
            <a:avLst/>
          </a:prstGeom>
        </p:spPr>
      </p:pic>
      <p:pic>
        <p:nvPicPr>
          <p:cNvPr id="32" name="Рисунок 31" descr="http://5A9FAA11343EC11A72E306E41DBDD243.dms.sberbank.ru/5A9FAA11343EC11A72E306E41DBDD243-A3706015402A346BAE2C7E4161CEDD42-78B027483C7D8D513BF49F01B3104E69/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57529607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4014921039"/>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34853879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9611396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029974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76084198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pic>
        <p:nvPicPr>
          <p:cNvPr id="1217" name="Рисунок 121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18" name="Рисунок 121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19" name="Рисунок 121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0" name="Рисунок 121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1" name="Рисунок 122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2" name="Рисунок 122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3" name="Рисунок 1222"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4" name="Рисунок 1223"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5" name="Рисунок 1224"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6" name="Рисунок 1225"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7" name="Рисунок 122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8" name="Рисунок 122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29" name="Рисунок 122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0" name="Рисунок 122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1" name="Рисунок 123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2" name="Рисунок 123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3" name="Рисунок 1232"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4" name="Рисунок 1233"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5" name="Рисунок 1234"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6" name="Рисунок 1235"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7" name="Рисунок 123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8" name="Рисунок 123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39" name="Рисунок 123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0" name="Рисунок 123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1" name="Рисунок 124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2" name="Рисунок 124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3" name="Рисунок 1242"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4" name="Рисунок 1243"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5" name="Рисунок 1244"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6" name="Рисунок 1245"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7" name="Рисунок 124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8" name="Рисунок 124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49" name="Рисунок 124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0" name="Рисунок 124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1" name="Рисунок 125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2" name="Рисунок 125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3" name="Рисунок 1252"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4" name="Рисунок 1253"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5" name="Рисунок 1254"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6" name="Рисунок 1255"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7" name="Рисунок 1256"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8" name="Рисунок 1257"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59" name="Рисунок 1258"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60" name="Рисунок 1259"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61" name="Рисунок 1260"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pic>
        <p:nvPicPr>
          <p:cNvPr id="1262" name="Рисунок 1261" descr="http://5A9FAA11343EC11A72E306E41DBDD243.dms.sberbank.ru/5A9FAA11343EC11A72E306E41DBDD243-A3706015402A346BAE2C7E4161CEDD42-A43DBAE14D4A7BB44B4C51921CE89AF5/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8879677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1576846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303200637"/>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17749743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415263377"/>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14" name="Рисунок 13"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pic>
        <p:nvPicPr>
          <p:cNvPr id="15" name="Рисунок 14"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4121816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Полный">
    <p:spTree>
      <p:nvGrpSpPr>
        <p:cNvPr id="1" name=""/>
        <p:cNvGrpSpPr/>
        <p:nvPr/>
      </p:nvGrpSpPr>
      <p:grpSpPr>
        <a:xfrm>
          <a:off x="0" y="0"/>
          <a:ext cx="0" cy="0"/>
          <a:chOff x="0" y="0"/>
          <a:chExt cx="0" cy="0"/>
        </a:xfrm>
      </p:grpSpPr>
      <p:sp>
        <p:nvSpPr>
          <p:cNvPr id="61" name="Прямоугольник 60">
            <a:extLst>
              <a:ext uri="{FF2B5EF4-FFF2-40B4-BE49-F238E27FC236}">
                <a16:creationId xmlns:a16="http://schemas.microsoft.com/office/drawing/2014/main" id="{1039A48A-BAC9-7648-90C0-DA5E4F3CBAEC}"/>
              </a:ext>
            </a:extLst>
          </p:cNvPr>
          <p:cNvSpPr/>
          <p:nvPr userDrawn="1"/>
        </p:nvSpPr>
        <p:spPr>
          <a:xfrm>
            <a:off x="2134800" y="1"/>
            <a:ext cx="1006795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TextBox 1"/>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sp>
        <p:nvSpPr>
          <p:cNvPr id="9" name="Title 1"/>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grpSp>
        <p:nvGrpSpPr>
          <p:cNvPr id="45" name="Группа 44">
            <a:extLst>
              <a:ext uri="{FF2B5EF4-FFF2-40B4-BE49-F238E27FC236}">
                <a16:creationId xmlns:a16="http://schemas.microsoft.com/office/drawing/2014/main" id="{0C8A99B0-BB0F-594E-BBB2-4F6C422A5D73}"/>
              </a:ext>
            </a:extLst>
          </p:cNvPr>
          <p:cNvGrpSpPr/>
          <p:nvPr userDrawn="1"/>
        </p:nvGrpSpPr>
        <p:grpSpPr>
          <a:xfrm>
            <a:off x="0" y="-7200"/>
            <a:ext cx="2148770" cy="553998"/>
            <a:chOff x="0" y="11193"/>
            <a:chExt cx="2148770" cy="553998"/>
          </a:xfrm>
        </p:grpSpPr>
        <p:sp>
          <p:nvSpPr>
            <p:cNvPr id="25" name="Прямоугольник 24">
              <a:extLst>
                <a:ext uri="{FF2B5EF4-FFF2-40B4-BE49-F238E27FC236}">
                  <a16:creationId xmlns:a16="http://schemas.microsoft.com/office/drawing/2014/main" id="{E5D7A035-431C-6942-AA7F-02341277A57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6" name="TextBox 25">
              <a:extLst>
                <a:ext uri="{FF2B5EF4-FFF2-40B4-BE49-F238E27FC236}">
                  <a16:creationId xmlns:a16="http://schemas.microsoft.com/office/drawing/2014/main" id="{4596D7C1-5BF8-8C45-930B-067DE7DAA06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46" name="TextBox 45">
              <a:extLst>
                <a:ext uri="{FF2B5EF4-FFF2-40B4-BE49-F238E27FC236}">
                  <a16:creationId xmlns:a16="http://schemas.microsoft.com/office/drawing/2014/main" id="{7D6EA4F5-6C93-9D43-8A29-61D5D1098B3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112" name="Прямоугольник 111">
            <a:extLst>
              <a:ext uri="{FF2B5EF4-FFF2-40B4-BE49-F238E27FC236}">
                <a16:creationId xmlns:a16="http://schemas.microsoft.com/office/drawing/2014/main" id="{2BB5DBF7-97FA-8B40-8DF1-98E4F0DF7AE2}"/>
              </a:ext>
            </a:extLst>
          </p:cNvPr>
          <p:cNvSpPr/>
          <p:nvPr userDrawn="1"/>
        </p:nvSpPr>
        <p:spPr>
          <a:xfrm>
            <a:off x="-5093665" y="-106734"/>
            <a:ext cx="2134800" cy="504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33" name="Группа 32">
            <a:extLst>
              <a:ext uri="{FF2B5EF4-FFF2-40B4-BE49-F238E27FC236}">
                <a16:creationId xmlns:a16="http://schemas.microsoft.com/office/drawing/2014/main" id="{B7C010CF-AB15-AD4D-B9F9-D700BF9DD6A8}"/>
              </a:ext>
            </a:extLst>
          </p:cNvPr>
          <p:cNvGrpSpPr/>
          <p:nvPr userDrawn="1"/>
        </p:nvGrpSpPr>
        <p:grpSpPr>
          <a:xfrm>
            <a:off x="-5093665" y="540000"/>
            <a:ext cx="4660570" cy="6048000"/>
            <a:chOff x="-5093665" y="529200"/>
            <a:chExt cx="4660570" cy="6048000"/>
          </a:xfrm>
        </p:grpSpPr>
        <p:sp>
          <p:nvSpPr>
            <p:cNvPr id="148" name="Прямоугольник 147">
              <a:extLst>
                <a:ext uri="{FF2B5EF4-FFF2-40B4-BE49-F238E27FC236}">
                  <a16:creationId xmlns:a16="http://schemas.microsoft.com/office/drawing/2014/main" id="{0BCCC7D5-D56B-C54C-A0E1-59522836691A}"/>
                </a:ext>
              </a:extLst>
            </p:cNvPr>
            <p:cNvSpPr/>
            <p:nvPr userDrawn="1"/>
          </p:nvSpPr>
          <p:spPr>
            <a:xfrm>
              <a:off x="-5093665" y="312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49" name="TextBox 148">
              <a:extLst>
                <a:ext uri="{FF2B5EF4-FFF2-40B4-BE49-F238E27FC236}">
                  <a16:creationId xmlns:a16="http://schemas.microsoft.com/office/drawing/2014/main" id="{8A8BDD25-F40E-4640-BEC3-23D47557F343}"/>
                </a:ext>
              </a:extLst>
            </p:cNvPr>
            <p:cNvSpPr txBox="1"/>
            <p:nvPr userDrawn="1"/>
          </p:nvSpPr>
          <p:spPr>
            <a:xfrm>
              <a:off x="-4489176" y="32217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8" name="Рисунок 7">
              <a:extLst>
                <a:ext uri="{FF2B5EF4-FFF2-40B4-BE49-F238E27FC236}">
                  <a16:creationId xmlns:a16="http://schemas.microsoft.com/office/drawing/2014/main" id="{89F55528-EE2E-614E-BC99-45B57B76FB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24394" y="3193200"/>
              <a:ext cx="288000" cy="288000"/>
            </a:xfrm>
            <a:prstGeom prst="rect">
              <a:avLst/>
            </a:prstGeom>
          </p:spPr>
        </p:pic>
        <p:sp>
          <p:nvSpPr>
            <p:cNvPr id="173" name="Прямоугольник 172">
              <a:extLst>
                <a:ext uri="{FF2B5EF4-FFF2-40B4-BE49-F238E27FC236}">
                  <a16:creationId xmlns:a16="http://schemas.microsoft.com/office/drawing/2014/main" id="{EDD205B0-5168-E449-81AB-28D8BB3B0B5E}"/>
                </a:ext>
              </a:extLst>
            </p:cNvPr>
            <p:cNvSpPr/>
            <p:nvPr userDrawn="1"/>
          </p:nvSpPr>
          <p:spPr>
            <a:xfrm>
              <a:off x="-2567895" y="312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74" name="TextBox 173">
              <a:extLst>
                <a:ext uri="{FF2B5EF4-FFF2-40B4-BE49-F238E27FC236}">
                  <a16:creationId xmlns:a16="http://schemas.microsoft.com/office/drawing/2014/main" id="{A5021444-A504-6D42-8440-4E11125F4BD8}"/>
                </a:ext>
              </a:extLst>
            </p:cNvPr>
            <p:cNvSpPr txBox="1"/>
            <p:nvPr userDrawn="1"/>
          </p:nvSpPr>
          <p:spPr>
            <a:xfrm>
              <a:off x="-1963406" y="32217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1" name="Рисунок 10">
              <a:extLst>
                <a:ext uri="{FF2B5EF4-FFF2-40B4-BE49-F238E27FC236}">
                  <a16:creationId xmlns:a16="http://schemas.microsoft.com/office/drawing/2014/main" id="{A20E0070-84B6-3A46-997F-B5A6450338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6372" y="3193200"/>
              <a:ext cx="288000" cy="288000"/>
            </a:xfrm>
            <a:prstGeom prst="rect">
              <a:avLst/>
            </a:prstGeom>
          </p:spPr>
        </p:pic>
        <p:sp>
          <p:nvSpPr>
            <p:cNvPr id="134" name="Прямоугольник 133">
              <a:extLst>
                <a:ext uri="{FF2B5EF4-FFF2-40B4-BE49-F238E27FC236}">
                  <a16:creationId xmlns:a16="http://schemas.microsoft.com/office/drawing/2014/main" id="{E4F134CD-7C79-5145-8F1E-408ABC47E45D}"/>
                </a:ext>
              </a:extLst>
            </p:cNvPr>
            <p:cNvSpPr/>
            <p:nvPr userDrawn="1"/>
          </p:nvSpPr>
          <p:spPr>
            <a:xfrm>
              <a:off x="-5093665" y="268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38" name="TextBox 137">
              <a:extLst>
                <a:ext uri="{FF2B5EF4-FFF2-40B4-BE49-F238E27FC236}">
                  <a16:creationId xmlns:a16="http://schemas.microsoft.com/office/drawing/2014/main" id="{6A7F204B-A2EB-F540-A2BA-B216240095A7}"/>
                </a:ext>
              </a:extLst>
            </p:cNvPr>
            <p:cNvSpPr txBox="1"/>
            <p:nvPr userDrawn="1"/>
          </p:nvSpPr>
          <p:spPr>
            <a:xfrm>
              <a:off x="-4489176" y="27897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13" name="Рисунок 12">
              <a:extLst>
                <a:ext uri="{FF2B5EF4-FFF2-40B4-BE49-F238E27FC236}">
                  <a16:creationId xmlns:a16="http://schemas.microsoft.com/office/drawing/2014/main" id="{8B5010DC-8F0F-C742-9B07-4672A539685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24394" y="2761200"/>
              <a:ext cx="288000" cy="288000"/>
            </a:xfrm>
            <a:prstGeom prst="rect">
              <a:avLst/>
            </a:prstGeom>
          </p:spPr>
        </p:pic>
        <p:sp>
          <p:nvSpPr>
            <p:cNvPr id="177" name="Прямоугольник 176">
              <a:extLst>
                <a:ext uri="{FF2B5EF4-FFF2-40B4-BE49-F238E27FC236}">
                  <a16:creationId xmlns:a16="http://schemas.microsoft.com/office/drawing/2014/main" id="{DC119702-A83D-0E40-8552-CF747ED5DD0F}"/>
                </a:ext>
              </a:extLst>
            </p:cNvPr>
            <p:cNvSpPr/>
            <p:nvPr userDrawn="1"/>
          </p:nvSpPr>
          <p:spPr>
            <a:xfrm>
              <a:off x="-2567895" y="268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78" name="TextBox 177">
              <a:extLst>
                <a:ext uri="{FF2B5EF4-FFF2-40B4-BE49-F238E27FC236}">
                  <a16:creationId xmlns:a16="http://schemas.microsoft.com/office/drawing/2014/main" id="{DE855EAC-9911-8247-9CE0-83420387339D}"/>
                </a:ext>
              </a:extLst>
            </p:cNvPr>
            <p:cNvSpPr txBox="1"/>
            <p:nvPr userDrawn="1"/>
          </p:nvSpPr>
          <p:spPr>
            <a:xfrm>
              <a:off x="-1963406" y="27897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5" name="Рисунок 14">
              <a:extLst>
                <a:ext uri="{FF2B5EF4-FFF2-40B4-BE49-F238E27FC236}">
                  <a16:creationId xmlns:a16="http://schemas.microsoft.com/office/drawing/2014/main" id="{A214EE19-7D1C-0A42-A27F-2C94B6F3C7C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96372" y="2761200"/>
              <a:ext cx="288000" cy="288000"/>
            </a:xfrm>
            <a:prstGeom prst="rect">
              <a:avLst/>
            </a:prstGeom>
          </p:spPr>
        </p:pic>
        <p:sp>
          <p:nvSpPr>
            <p:cNvPr id="122" name="Прямоугольник 121">
              <a:extLst>
                <a:ext uri="{FF2B5EF4-FFF2-40B4-BE49-F238E27FC236}">
                  <a16:creationId xmlns:a16="http://schemas.microsoft.com/office/drawing/2014/main" id="{7CF405AE-EB41-8F46-8EFA-7384F9413BEE}"/>
                </a:ext>
              </a:extLst>
            </p:cNvPr>
            <p:cNvSpPr/>
            <p:nvPr userDrawn="1"/>
          </p:nvSpPr>
          <p:spPr>
            <a:xfrm>
              <a:off x="-5093665" y="225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23" name="TextBox 122">
              <a:extLst>
                <a:ext uri="{FF2B5EF4-FFF2-40B4-BE49-F238E27FC236}">
                  <a16:creationId xmlns:a16="http://schemas.microsoft.com/office/drawing/2014/main" id="{D0210663-C867-9241-AC1B-35C1B953B450}"/>
                </a:ext>
              </a:extLst>
            </p:cNvPr>
            <p:cNvSpPr txBox="1"/>
            <p:nvPr userDrawn="1"/>
          </p:nvSpPr>
          <p:spPr>
            <a:xfrm>
              <a:off x="-4489176" y="22885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17" name="Рисунок 16">
              <a:extLst>
                <a:ext uri="{FF2B5EF4-FFF2-40B4-BE49-F238E27FC236}">
                  <a16:creationId xmlns:a16="http://schemas.microsoft.com/office/drawing/2014/main" id="{D140F756-D879-864E-A918-8653D8D38493}"/>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924394" y="2329200"/>
              <a:ext cx="288000" cy="288000"/>
            </a:xfrm>
            <a:prstGeom prst="rect">
              <a:avLst/>
            </a:prstGeom>
          </p:spPr>
        </p:pic>
        <p:sp>
          <p:nvSpPr>
            <p:cNvPr id="181" name="Прямоугольник 180">
              <a:extLst>
                <a:ext uri="{FF2B5EF4-FFF2-40B4-BE49-F238E27FC236}">
                  <a16:creationId xmlns:a16="http://schemas.microsoft.com/office/drawing/2014/main" id="{C0E56B4C-0F01-8E41-8712-133EAFFDF318}"/>
                </a:ext>
              </a:extLst>
            </p:cNvPr>
            <p:cNvSpPr/>
            <p:nvPr userDrawn="1"/>
          </p:nvSpPr>
          <p:spPr>
            <a:xfrm>
              <a:off x="-2567895" y="225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2" name="TextBox 181">
              <a:extLst>
                <a:ext uri="{FF2B5EF4-FFF2-40B4-BE49-F238E27FC236}">
                  <a16:creationId xmlns:a16="http://schemas.microsoft.com/office/drawing/2014/main" id="{A4FA2114-73AD-C948-802E-06F1B3B83224}"/>
                </a:ext>
              </a:extLst>
            </p:cNvPr>
            <p:cNvSpPr txBox="1"/>
            <p:nvPr userDrawn="1"/>
          </p:nvSpPr>
          <p:spPr>
            <a:xfrm>
              <a:off x="-1963406" y="22885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9" name="Рисунок 18">
              <a:extLst>
                <a:ext uri="{FF2B5EF4-FFF2-40B4-BE49-F238E27FC236}">
                  <a16:creationId xmlns:a16="http://schemas.microsoft.com/office/drawing/2014/main" id="{643203A8-8EE1-524A-AAD7-B25022D55441}"/>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2396372" y="2329200"/>
              <a:ext cx="288000" cy="288000"/>
            </a:xfrm>
            <a:prstGeom prst="rect">
              <a:avLst/>
            </a:prstGeom>
          </p:spPr>
        </p:pic>
        <p:sp>
          <p:nvSpPr>
            <p:cNvPr id="154" name="Прямоугольник 153">
              <a:extLst>
                <a:ext uri="{FF2B5EF4-FFF2-40B4-BE49-F238E27FC236}">
                  <a16:creationId xmlns:a16="http://schemas.microsoft.com/office/drawing/2014/main" id="{AE0DA309-B548-6C45-880A-4111FD2997E9}"/>
                </a:ext>
              </a:extLst>
            </p:cNvPr>
            <p:cNvSpPr/>
            <p:nvPr userDrawn="1"/>
          </p:nvSpPr>
          <p:spPr>
            <a:xfrm>
              <a:off x="-5093665" y="182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5" name="TextBox 154">
              <a:extLst>
                <a:ext uri="{FF2B5EF4-FFF2-40B4-BE49-F238E27FC236}">
                  <a16:creationId xmlns:a16="http://schemas.microsoft.com/office/drawing/2014/main" id="{5E78940A-D3EB-AB41-8A98-9227FDE0EDF3}"/>
                </a:ext>
              </a:extLst>
            </p:cNvPr>
            <p:cNvSpPr txBox="1"/>
            <p:nvPr userDrawn="1"/>
          </p:nvSpPr>
          <p:spPr>
            <a:xfrm>
              <a:off x="-4489176" y="18565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1" name="Рисунок 20">
              <a:extLst>
                <a:ext uri="{FF2B5EF4-FFF2-40B4-BE49-F238E27FC236}">
                  <a16:creationId xmlns:a16="http://schemas.microsoft.com/office/drawing/2014/main" id="{7369BE88-04AB-8E43-AF57-44758B7751F8}"/>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4924394" y="1897200"/>
              <a:ext cx="288000" cy="288000"/>
            </a:xfrm>
            <a:prstGeom prst="rect">
              <a:avLst/>
            </a:prstGeom>
          </p:spPr>
        </p:pic>
        <p:sp>
          <p:nvSpPr>
            <p:cNvPr id="185" name="Прямоугольник 184">
              <a:extLst>
                <a:ext uri="{FF2B5EF4-FFF2-40B4-BE49-F238E27FC236}">
                  <a16:creationId xmlns:a16="http://schemas.microsoft.com/office/drawing/2014/main" id="{19D2482E-4C6F-EB41-833A-424246AA0CE4}"/>
                </a:ext>
              </a:extLst>
            </p:cNvPr>
            <p:cNvSpPr/>
            <p:nvPr userDrawn="1"/>
          </p:nvSpPr>
          <p:spPr>
            <a:xfrm>
              <a:off x="-2567895" y="182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3D4A0E51-846B-FD4A-89E3-0C65AFC8E304}"/>
                </a:ext>
              </a:extLst>
            </p:cNvPr>
            <p:cNvSpPr txBox="1"/>
            <p:nvPr userDrawn="1"/>
          </p:nvSpPr>
          <p:spPr>
            <a:xfrm>
              <a:off x="-1963406" y="18565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23" name="Рисунок 22">
              <a:extLst>
                <a:ext uri="{FF2B5EF4-FFF2-40B4-BE49-F238E27FC236}">
                  <a16:creationId xmlns:a16="http://schemas.microsoft.com/office/drawing/2014/main" id="{DACB067C-EA14-C24C-A84D-ABC193FEB944}"/>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2396372" y="1897200"/>
              <a:ext cx="288000" cy="288000"/>
            </a:xfrm>
            <a:prstGeom prst="rect">
              <a:avLst/>
            </a:prstGeom>
          </p:spPr>
        </p:pic>
        <p:sp>
          <p:nvSpPr>
            <p:cNvPr id="157" name="Прямоугольник 156">
              <a:extLst>
                <a:ext uri="{FF2B5EF4-FFF2-40B4-BE49-F238E27FC236}">
                  <a16:creationId xmlns:a16="http://schemas.microsoft.com/office/drawing/2014/main" id="{6366698E-E20D-5342-BE12-8DB24B5317B7}"/>
                </a:ext>
              </a:extLst>
            </p:cNvPr>
            <p:cNvSpPr/>
            <p:nvPr userDrawn="1"/>
          </p:nvSpPr>
          <p:spPr>
            <a:xfrm>
              <a:off x="-5093665" y="441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8" name="TextBox 157">
              <a:extLst>
                <a:ext uri="{FF2B5EF4-FFF2-40B4-BE49-F238E27FC236}">
                  <a16:creationId xmlns:a16="http://schemas.microsoft.com/office/drawing/2014/main" id="{6A0722BC-B1F8-3A4F-98CC-C2699CD46F5D}"/>
                </a:ext>
              </a:extLst>
            </p:cNvPr>
            <p:cNvSpPr txBox="1"/>
            <p:nvPr userDrawn="1"/>
          </p:nvSpPr>
          <p:spPr>
            <a:xfrm>
              <a:off x="-4489176" y="45177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7" name="Рисунок 26">
              <a:extLst>
                <a:ext uri="{FF2B5EF4-FFF2-40B4-BE49-F238E27FC236}">
                  <a16:creationId xmlns:a16="http://schemas.microsoft.com/office/drawing/2014/main" id="{F964ECB3-7626-8F4C-A49F-243CE247FE2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924394" y="4489200"/>
              <a:ext cx="288000" cy="288000"/>
            </a:xfrm>
            <a:prstGeom prst="rect">
              <a:avLst/>
            </a:prstGeom>
          </p:spPr>
        </p:pic>
        <p:sp>
          <p:nvSpPr>
            <p:cNvPr id="193" name="Прямоугольник 192">
              <a:extLst>
                <a:ext uri="{FF2B5EF4-FFF2-40B4-BE49-F238E27FC236}">
                  <a16:creationId xmlns:a16="http://schemas.microsoft.com/office/drawing/2014/main" id="{FE89E3EE-0176-5841-8972-605EC194E2E3}"/>
                </a:ext>
              </a:extLst>
            </p:cNvPr>
            <p:cNvSpPr/>
            <p:nvPr userDrawn="1"/>
          </p:nvSpPr>
          <p:spPr>
            <a:xfrm>
              <a:off x="-2567895" y="441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4" name="TextBox 193">
              <a:extLst>
                <a:ext uri="{FF2B5EF4-FFF2-40B4-BE49-F238E27FC236}">
                  <a16:creationId xmlns:a16="http://schemas.microsoft.com/office/drawing/2014/main" id="{7694C2C3-1CC6-5949-BB3D-1B2FD64C740B}"/>
                </a:ext>
              </a:extLst>
            </p:cNvPr>
            <p:cNvSpPr txBox="1"/>
            <p:nvPr userDrawn="1"/>
          </p:nvSpPr>
          <p:spPr>
            <a:xfrm>
              <a:off x="-1963406" y="45177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29" name="Рисунок 28">
              <a:extLst>
                <a:ext uri="{FF2B5EF4-FFF2-40B4-BE49-F238E27FC236}">
                  <a16:creationId xmlns:a16="http://schemas.microsoft.com/office/drawing/2014/main" id="{B45933BA-EAD5-4048-9BA5-AC4A9DA9647B}"/>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396372" y="4489200"/>
              <a:ext cx="288000" cy="288000"/>
            </a:xfrm>
            <a:prstGeom prst="rect">
              <a:avLst/>
            </a:prstGeom>
          </p:spPr>
        </p:pic>
        <p:sp>
          <p:nvSpPr>
            <p:cNvPr id="115" name="Прямоугольник 114">
              <a:extLst>
                <a:ext uri="{FF2B5EF4-FFF2-40B4-BE49-F238E27FC236}">
                  <a16:creationId xmlns:a16="http://schemas.microsoft.com/office/drawing/2014/main" id="{DD1B3AF4-485B-DE46-808B-C013A0ADBBDA}"/>
                </a:ext>
              </a:extLst>
            </p:cNvPr>
            <p:cNvSpPr/>
            <p:nvPr userDrawn="1"/>
          </p:nvSpPr>
          <p:spPr>
            <a:xfrm>
              <a:off x="-5093665" y="355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483A3CE9-ECF2-354C-B0EE-EBBC58D027A1}"/>
                </a:ext>
              </a:extLst>
            </p:cNvPr>
            <p:cNvSpPr txBox="1"/>
            <p:nvPr userDrawn="1"/>
          </p:nvSpPr>
          <p:spPr>
            <a:xfrm>
              <a:off x="-4489176" y="36537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145" name="Рисунок 144">
              <a:extLst>
                <a:ext uri="{FF2B5EF4-FFF2-40B4-BE49-F238E27FC236}">
                  <a16:creationId xmlns:a16="http://schemas.microsoft.com/office/drawing/2014/main" id="{CA3B877C-EAEC-774D-ACA1-03AABCC7EDB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924394" y="3625200"/>
              <a:ext cx="288000" cy="288000"/>
            </a:xfrm>
            <a:prstGeom prst="rect">
              <a:avLst/>
            </a:prstGeom>
          </p:spPr>
        </p:pic>
        <p:sp>
          <p:nvSpPr>
            <p:cNvPr id="205" name="Прямоугольник 204">
              <a:extLst>
                <a:ext uri="{FF2B5EF4-FFF2-40B4-BE49-F238E27FC236}">
                  <a16:creationId xmlns:a16="http://schemas.microsoft.com/office/drawing/2014/main" id="{72F23E4B-8CF7-7644-BAEF-D87686B5E10E}"/>
                </a:ext>
              </a:extLst>
            </p:cNvPr>
            <p:cNvSpPr/>
            <p:nvPr userDrawn="1"/>
          </p:nvSpPr>
          <p:spPr>
            <a:xfrm>
              <a:off x="-2567895" y="355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6" name="TextBox 205">
              <a:extLst>
                <a:ext uri="{FF2B5EF4-FFF2-40B4-BE49-F238E27FC236}">
                  <a16:creationId xmlns:a16="http://schemas.microsoft.com/office/drawing/2014/main" id="{B909337F-C312-794D-9746-2749ABF3D320}"/>
                </a:ext>
              </a:extLst>
            </p:cNvPr>
            <p:cNvSpPr txBox="1"/>
            <p:nvPr userDrawn="1"/>
          </p:nvSpPr>
          <p:spPr>
            <a:xfrm>
              <a:off x="-1963406" y="36537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326" name="Рисунок 325">
              <a:extLst>
                <a:ext uri="{FF2B5EF4-FFF2-40B4-BE49-F238E27FC236}">
                  <a16:creationId xmlns:a16="http://schemas.microsoft.com/office/drawing/2014/main" id="{87B70CB0-23FC-0F4F-A9AD-05CC25CDD164}"/>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396372" y="3625200"/>
              <a:ext cx="288000" cy="288000"/>
            </a:xfrm>
            <a:prstGeom prst="rect">
              <a:avLst/>
            </a:prstGeom>
          </p:spPr>
        </p:pic>
        <p:sp>
          <p:nvSpPr>
            <p:cNvPr id="116" name="Прямоугольник 115">
              <a:extLst>
                <a:ext uri="{FF2B5EF4-FFF2-40B4-BE49-F238E27FC236}">
                  <a16:creationId xmlns:a16="http://schemas.microsoft.com/office/drawing/2014/main" id="{3B765EBC-D8E8-454A-B76C-1A1255B5332E}"/>
                </a:ext>
              </a:extLst>
            </p:cNvPr>
            <p:cNvSpPr/>
            <p:nvPr userDrawn="1"/>
          </p:nvSpPr>
          <p:spPr>
            <a:xfrm>
              <a:off x="-5093665" y="398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 name="TextBox 126">
              <a:extLst>
                <a:ext uri="{FF2B5EF4-FFF2-40B4-BE49-F238E27FC236}">
                  <a16:creationId xmlns:a16="http://schemas.microsoft.com/office/drawing/2014/main" id="{CBDC2A0B-7B80-234D-9134-A69C042CB616}"/>
                </a:ext>
              </a:extLst>
            </p:cNvPr>
            <p:cNvSpPr txBox="1"/>
            <p:nvPr userDrawn="1"/>
          </p:nvSpPr>
          <p:spPr>
            <a:xfrm>
              <a:off x="-4489176" y="40857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147" name="Рисунок 146">
              <a:extLst>
                <a:ext uri="{FF2B5EF4-FFF2-40B4-BE49-F238E27FC236}">
                  <a16:creationId xmlns:a16="http://schemas.microsoft.com/office/drawing/2014/main" id="{FDC2491B-9C30-FA4F-AB32-75BBEB2DE97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924394" y="4057200"/>
              <a:ext cx="288000" cy="288000"/>
            </a:xfrm>
            <a:prstGeom prst="rect">
              <a:avLst/>
            </a:prstGeom>
          </p:spPr>
        </p:pic>
        <p:sp>
          <p:nvSpPr>
            <p:cNvPr id="209" name="Прямоугольник 208">
              <a:extLst>
                <a:ext uri="{FF2B5EF4-FFF2-40B4-BE49-F238E27FC236}">
                  <a16:creationId xmlns:a16="http://schemas.microsoft.com/office/drawing/2014/main" id="{DA4CB310-1C70-D045-BF41-279B84260565}"/>
                </a:ext>
              </a:extLst>
            </p:cNvPr>
            <p:cNvSpPr/>
            <p:nvPr userDrawn="1"/>
          </p:nvSpPr>
          <p:spPr>
            <a:xfrm>
              <a:off x="-2567895" y="398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0" name="TextBox 209">
              <a:extLst>
                <a:ext uri="{FF2B5EF4-FFF2-40B4-BE49-F238E27FC236}">
                  <a16:creationId xmlns:a16="http://schemas.microsoft.com/office/drawing/2014/main" id="{4E70CA8F-896E-8548-B2CF-CC03DD022B2F}"/>
                </a:ext>
              </a:extLst>
            </p:cNvPr>
            <p:cNvSpPr txBox="1"/>
            <p:nvPr userDrawn="1"/>
          </p:nvSpPr>
          <p:spPr>
            <a:xfrm>
              <a:off x="-1963406" y="40857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328" name="Рисунок 327">
              <a:extLst>
                <a:ext uri="{FF2B5EF4-FFF2-40B4-BE49-F238E27FC236}">
                  <a16:creationId xmlns:a16="http://schemas.microsoft.com/office/drawing/2014/main" id="{873AE595-7C28-F046-BC11-883F77D4FD72}"/>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396372" y="4057200"/>
              <a:ext cx="288000" cy="288000"/>
            </a:xfrm>
            <a:prstGeom prst="rect">
              <a:avLst/>
            </a:prstGeom>
          </p:spPr>
        </p:pic>
        <p:sp>
          <p:nvSpPr>
            <p:cNvPr id="117" name="Прямоугольник 116">
              <a:extLst>
                <a:ext uri="{FF2B5EF4-FFF2-40B4-BE49-F238E27FC236}">
                  <a16:creationId xmlns:a16="http://schemas.microsoft.com/office/drawing/2014/main" id="{C601E0F1-8973-6C4D-B3FA-49ED1DDE1998}"/>
                </a:ext>
              </a:extLst>
            </p:cNvPr>
            <p:cNvSpPr/>
            <p:nvPr userDrawn="1"/>
          </p:nvSpPr>
          <p:spPr>
            <a:xfrm>
              <a:off x="-5093665" y="96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 name="TextBox 127">
              <a:extLst>
                <a:ext uri="{FF2B5EF4-FFF2-40B4-BE49-F238E27FC236}">
                  <a16:creationId xmlns:a16="http://schemas.microsoft.com/office/drawing/2014/main" id="{37A22729-1229-D244-9FE6-20283DE0AEE0}"/>
                </a:ext>
              </a:extLst>
            </p:cNvPr>
            <p:cNvSpPr txBox="1"/>
            <p:nvPr userDrawn="1"/>
          </p:nvSpPr>
          <p:spPr>
            <a:xfrm>
              <a:off x="-4489176" y="10617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144" name="Рисунок 143">
              <a:extLst>
                <a:ext uri="{FF2B5EF4-FFF2-40B4-BE49-F238E27FC236}">
                  <a16:creationId xmlns:a16="http://schemas.microsoft.com/office/drawing/2014/main" id="{67E7FB88-5B5B-BD4A-B5E6-F8A56EBCF4F3}"/>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924394" y="1033200"/>
              <a:ext cx="288000" cy="288000"/>
            </a:xfrm>
            <a:prstGeom prst="rect">
              <a:avLst/>
            </a:prstGeom>
          </p:spPr>
        </p:pic>
        <p:sp>
          <p:nvSpPr>
            <p:cNvPr id="197" name="Прямоугольник 196">
              <a:extLst>
                <a:ext uri="{FF2B5EF4-FFF2-40B4-BE49-F238E27FC236}">
                  <a16:creationId xmlns:a16="http://schemas.microsoft.com/office/drawing/2014/main" id="{746541A8-F671-2F48-9AA2-D7A4B6A1306B}"/>
                </a:ext>
              </a:extLst>
            </p:cNvPr>
            <p:cNvSpPr/>
            <p:nvPr userDrawn="1"/>
          </p:nvSpPr>
          <p:spPr>
            <a:xfrm>
              <a:off x="-2567895" y="96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8" name="TextBox 197">
              <a:extLst>
                <a:ext uri="{FF2B5EF4-FFF2-40B4-BE49-F238E27FC236}">
                  <a16:creationId xmlns:a16="http://schemas.microsoft.com/office/drawing/2014/main" id="{B883A239-187E-264D-93E3-03E7D26097FE}"/>
                </a:ext>
              </a:extLst>
            </p:cNvPr>
            <p:cNvSpPr txBox="1"/>
            <p:nvPr userDrawn="1"/>
          </p:nvSpPr>
          <p:spPr>
            <a:xfrm>
              <a:off x="-1963406" y="10617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330" name="Рисунок 329">
              <a:extLst>
                <a:ext uri="{FF2B5EF4-FFF2-40B4-BE49-F238E27FC236}">
                  <a16:creationId xmlns:a16="http://schemas.microsoft.com/office/drawing/2014/main" id="{FE26512F-84A6-FF45-8DF7-756D6D3AD888}"/>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2396372" y="1033200"/>
              <a:ext cx="288000" cy="288000"/>
            </a:xfrm>
            <a:prstGeom prst="rect">
              <a:avLst/>
            </a:prstGeom>
          </p:spPr>
        </p:pic>
        <p:sp>
          <p:nvSpPr>
            <p:cNvPr id="118" name="Прямоугольник 117">
              <a:extLst>
                <a:ext uri="{FF2B5EF4-FFF2-40B4-BE49-F238E27FC236}">
                  <a16:creationId xmlns:a16="http://schemas.microsoft.com/office/drawing/2014/main" id="{D6EC83E3-EFBE-3E40-A296-12D7FD4C4D6D}"/>
                </a:ext>
              </a:extLst>
            </p:cNvPr>
            <p:cNvSpPr/>
            <p:nvPr userDrawn="1"/>
          </p:nvSpPr>
          <p:spPr>
            <a:xfrm>
              <a:off x="-5093665" y="484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492A81A1-7154-F944-9FAB-51B0E7A26CC0}"/>
                </a:ext>
              </a:extLst>
            </p:cNvPr>
            <p:cNvSpPr txBox="1"/>
            <p:nvPr userDrawn="1"/>
          </p:nvSpPr>
          <p:spPr>
            <a:xfrm>
              <a:off x="-4489176" y="49497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143" name="Рисунок 142">
              <a:extLst>
                <a:ext uri="{FF2B5EF4-FFF2-40B4-BE49-F238E27FC236}">
                  <a16:creationId xmlns:a16="http://schemas.microsoft.com/office/drawing/2014/main" id="{451983D5-6575-014D-891F-BD09BC63C47C}"/>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4924394" y="4921200"/>
              <a:ext cx="288000" cy="288000"/>
            </a:xfrm>
            <a:prstGeom prst="rect">
              <a:avLst/>
            </a:prstGeom>
          </p:spPr>
        </p:pic>
        <p:sp>
          <p:nvSpPr>
            <p:cNvPr id="213" name="Прямоугольник 212">
              <a:extLst>
                <a:ext uri="{FF2B5EF4-FFF2-40B4-BE49-F238E27FC236}">
                  <a16:creationId xmlns:a16="http://schemas.microsoft.com/office/drawing/2014/main" id="{9E79646C-4B55-4E44-BCA2-EEC6BDF8EC27}"/>
                </a:ext>
              </a:extLst>
            </p:cNvPr>
            <p:cNvSpPr/>
            <p:nvPr userDrawn="1"/>
          </p:nvSpPr>
          <p:spPr>
            <a:xfrm>
              <a:off x="-2567895" y="484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4" name="TextBox 213">
              <a:extLst>
                <a:ext uri="{FF2B5EF4-FFF2-40B4-BE49-F238E27FC236}">
                  <a16:creationId xmlns:a16="http://schemas.microsoft.com/office/drawing/2014/main" id="{7877A512-72E9-1749-90A5-C74086F31521}"/>
                </a:ext>
              </a:extLst>
            </p:cNvPr>
            <p:cNvSpPr txBox="1"/>
            <p:nvPr userDrawn="1"/>
          </p:nvSpPr>
          <p:spPr>
            <a:xfrm>
              <a:off x="-1963406" y="49497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332" name="Рисунок 331">
              <a:extLst>
                <a:ext uri="{FF2B5EF4-FFF2-40B4-BE49-F238E27FC236}">
                  <a16:creationId xmlns:a16="http://schemas.microsoft.com/office/drawing/2014/main" id="{7FD524C6-3EF6-3843-B04B-984B42047FA5}"/>
                </a:ext>
              </a:extLst>
            </p:cNvPr>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2396372" y="4921200"/>
              <a:ext cx="288000" cy="288000"/>
            </a:xfrm>
            <a:prstGeom prst="rect">
              <a:avLst/>
            </a:prstGeom>
          </p:spPr>
        </p:pic>
        <p:sp>
          <p:nvSpPr>
            <p:cNvPr id="119" name="Прямоугольник 118">
              <a:extLst>
                <a:ext uri="{FF2B5EF4-FFF2-40B4-BE49-F238E27FC236}">
                  <a16:creationId xmlns:a16="http://schemas.microsoft.com/office/drawing/2014/main" id="{04B24462-DEAC-1B41-A199-31BAD37678FA}"/>
                </a:ext>
              </a:extLst>
            </p:cNvPr>
            <p:cNvSpPr/>
            <p:nvPr userDrawn="1"/>
          </p:nvSpPr>
          <p:spPr>
            <a:xfrm>
              <a:off x="-5093665" y="139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 name="TextBox 129">
              <a:extLst>
                <a:ext uri="{FF2B5EF4-FFF2-40B4-BE49-F238E27FC236}">
                  <a16:creationId xmlns:a16="http://schemas.microsoft.com/office/drawing/2014/main" id="{9B1B8B48-2F62-9744-BE30-90F20E05D2A8}"/>
                </a:ext>
              </a:extLst>
            </p:cNvPr>
            <p:cNvSpPr txBox="1"/>
            <p:nvPr userDrawn="1"/>
          </p:nvSpPr>
          <p:spPr>
            <a:xfrm>
              <a:off x="-4489176" y="14937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42" name="Рисунок 141">
              <a:extLst>
                <a:ext uri="{FF2B5EF4-FFF2-40B4-BE49-F238E27FC236}">
                  <a16:creationId xmlns:a16="http://schemas.microsoft.com/office/drawing/2014/main" id="{D8A78993-0C7C-0B48-9715-DF7273F90076}"/>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924395" y="1465200"/>
              <a:ext cx="288000" cy="288000"/>
            </a:xfrm>
            <a:prstGeom prst="rect">
              <a:avLst/>
            </a:prstGeom>
          </p:spPr>
        </p:pic>
        <p:sp>
          <p:nvSpPr>
            <p:cNvPr id="201" name="Прямоугольник 200">
              <a:extLst>
                <a:ext uri="{FF2B5EF4-FFF2-40B4-BE49-F238E27FC236}">
                  <a16:creationId xmlns:a16="http://schemas.microsoft.com/office/drawing/2014/main" id="{C3F941D9-43D1-2F4A-8C21-F3882F82AD20}"/>
                </a:ext>
              </a:extLst>
            </p:cNvPr>
            <p:cNvSpPr/>
            <p:nvPr userDrawn="1"/>
          </p:nvSpPr>
          <p:spPr>
            <a:xfrm>
              <a:off x="-2567895" y="139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2" name="TextBox 201">
              <a:extLst>
                <a:ext uri="{FF2B5EF4-FFF2-40B4-BE49-F238E27FC236}">
                  <a16:creationId xmlns:a16="http://schemas.microsoft.com/office/drawing/2014/main" id="{83287356-20D3-5342-9BB9-FB2A8135CA1B}"/>
                </a:ext>
              </a:extLst>
            </p:cNvPr>
            <p:cNvSpPr txBox="1"/>
            <p:nvPr userDrawn="1"/>
          </p:nvSpPr>
          <p:spPr>
            <a:xfrm>
              <a:off x="-1963406" y="14937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334" name="Рисунок 333">
              <a:extLst>
                <a:ext uri="{FF2B5EF4-FFF2-40B4-BE49-F238E27FC236}">
                  <a16:creationId xmlns:a16="http://schemas.microsoft.com/office/drawing/2014/main" id="{E9A4BDFD-E859-8D42-9A54-4F15D6A68FB5}"/>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2396372" y="1465200"/>
              <a:ext cx="288000" cy="288000"/>
            </a:xfrm>
            <a:prstGeom prst="rect">
              <a:avLst/>
            </a:prstGeom>
          </p:spPr>
        </p:pic>
        <p:sp>
          <p:nvSpPr>
            <p:cNvPr id="120" name="Прямоугольник 119">
              <a:extLst>
                <a:ext uri="{FF2B5EF4-FFF2-40B4-BE49-F238E27FC236}">
                  <a16:creationId xmlns:a16="http://schemas.microsoft.com/office/drawing/2014/main" id="{A16E63B7-CF49-1744-822B-C5A24F1B4455}"/>
                </a:ext>
              </a:extLst>
            </p:cNvPr>
            <p:cNvSpPr/>
            <p:nvPr userDrawn="1"/>
          </p:nvSpPr>
          <p:spPr>
            <a:xfrm>
              <a:off x="-5093665" y="528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 name="TextBox 130">
              <a:extLst>
                <a:ext uri="{FF2B5EF4-FFF2-40B4-BE49-F238E27FC236}">
                  <a16:creationId xmlns:a16="http://schemas.microsoft.com/office/drawing/2014/main" id="{9D526FD2-5272-7A42-81E1-942A5E48A30E}"/>
                </a:ext>
              </a:extLst>
            </p:cNvPr>
            <p:cNvSpPr txBox="1"/>
            <p:nvPr userDrawn="1"/>
          </p:nvSpPr>
          <p:spPr>
            <a:xfrm>
              <a:off x="-4489176" y="53817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41" name="Рисунок 140">
              <a:extLst>
                <a:ext uri="{FF2B5EF4-FFF2-40B4-BE49-F238E27FC236}">
                  <a16:creationId xmlns:a16="http://schemas.microsoft.com/office/drawing/2014/main" id="{5BEDC640-F231-C647-9E2B-6E4B994B8033}"/>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924395" y="5353200"/>
              <a:ext cx="288000" cy="288000"/>
            </a:xfrm>
            <a:prstGeom prst="rect">
              <a:avLst/>
            </a:prstGeom>
          </p:spPr>
        </p:pic>
        <p:sp>
          <p:nvSpPr>
            <p:cNvPr id="165" name="Прямоугольник 164">
              <a:extLst>
                <a:ext uri="{FF2B5EF4-FFF2-40B4-BE49-F238E27FC236}">
                  <a16:creationId xmlns:a16="http://schemas.microsoft.com/office/drawing/2014/main" id="{2990B3B4-D800-B246-8433-0950B5F8F4CC}"/>
                </a:ext>
              </a:extLst>
            </p:cNvPr>
            <p:cNvSpPr/>
            <p:nvPr userDrawn="1"/>
          </p:nvSpPr>
          <p:spPr>
            <a:xfrm>
              <a:off x="-2567895" y="528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6A6A5D67-506B-D140-A799-3E2678AE55A4}"/>
                </a:ext>
              </a:extLst>
            </p:cNvPr>
            <p:cNvSpPr txBox="1"/>
            <p:nvPr userDrawn="1"/>
          </p:nvSpPr>
          <p:spPr>
            <a:xfrm>
              <a:off x="-1963406" y="53817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336" name="Рисунок 335">
              <a:extLst>
                <a:ext uri="{FF2B5EF4-FFF2-40B4-BE49-F238E27FC236}">
                  <a16:creationId xmlns:a16="http://schemas.microsoft.com/office/drawing/2014/main" id="{5281E1D3-E28C-8746-BC62-E7C985CE77FC}"/>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2396372" y="5353200"/>
              <a:ext cx="288000" cy="288000"/>
            </a:xfrm>
            <a:prstGeom prst="rect">
              <a:avLst/>
            </a:prstGeom>
          </p:spPr>
        </p:pic>
        <p:sp>
          <p:nvSpPr>
            <p:cNvPr id="121" name="Прямоугольник 120">
              <a:extLst>
                <a:ext uri="{FF2B5EF4-FFF2-40B4-BE49-F238E27FC236}">
                  <a16:creationId xmlns:a16="http://schemas.microsoft.com/office/drawing/2014/main" id="{B5384705-97FD-994A-898C-75CFF06C53B7}"/>
                </a:ext>
              </a:extLst>
            </p:cNvPr>
            <p:cNvSpPr/>
            <p:nvPr userDrawn="1"/>
          </p:nvSpPr>
          <p:spPr>
            <a:xfrm>
              <a:off x="-5093665" y="52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 name="TextBox 131">
              <a:extLst>
                <a:ext uri="{FF2B5EF4-FFF2-40B4-BE49-F238E27FC236}">
                  <a16:creationId xmlns:a16="http://schemas.microsoft.com/office/drawing/2014/main" id="{C13090A7-6507-A64B-B919-790EF1493424}"/>
                </a:ext>
              </a:extLst>
            </p:cNvPr>
            <p:cNvSpPr txBox="1"/>
            <p:nvPr userDrawn="1"/>
          </p:nvSpPr>
          <p:spPr>
            <a:xfrm>
              <a:off x="-4489176" y="6297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40" name="Рисунок 139">
              <a:extLst>
                <a:ext uri="{FF2B5EF4-FFF2-40B4-BE49-F238E27FC236}">
                  <a16:creationId xmlns:a16="http://schemas.microsoft.com/office/drawing/2014/main" id="{F98EFA87-BD59-A44A-BFA7-190F7C8BE2CC}"/>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4924394" y="601200"/>
              <a:ext cx="288000" cy="288000"/>
            </a:xfrm>
            <a:prstGeom prst="rect">
              <a:avLst/>
            </a:prstGeom>
          </p:spPr>
        </p:pic>
        <p:sp>
          <p:nvSpPr>
            <p:cNvPr id="189" name="Прямоугольник 188">
              <a:extLst>
                <a:ext uri="{FF2B5EF4-FFF2-40B4-BE49-F238E27FC236}">
                  <a16:creationId xmlns:a16="http://schemas.microsoft.com/office/drawing/2014/main" id="{D741B3A2-E329-1F44-816B-BE37A24E34E9}"/>
                </a:ext>
              </a:extLst>
            </p:cNvPr>
            <p:cNvSpPr/>
            <p:nvPr userDrawn="1"/>
          </p:nvSpPr>
          <p:spPr>
            <a:xfrm>
              <a:off x="-2567895" y="52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B8AA586-144C-4746-AD9F-F13CC405DCCE}"/>
                </a:ext>
              </a:extLst>
            </p:cNvPr>
            <p:cNvSpPr txBox="1"/>
            <p:nvPr userDrawn="1"/>
          </p:nvSpPr>
          <p:spPr>
            <a:xfrm>
              <a:off x="-1963406" y="6297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338" name="Рисунок 337">
              <a:extLst>
                <a:ext uri="{FF2B5EF4-FFF2-40B4-BE49-F238E27FC236}">
                  <a16:creationId xmlns:a16="http://schemas.microsoft.com/office/drawing/2014/main" id="{6AD49057-C1CD-B44A-AF66-D972E201F0ED}"/>
                </a:ext>
              </a:extLst>
            </p:cNvPr>
            <p:cNvPicPr>
              <a:picLocks noChangeAspect="1"/>
            </p:cNvPicPr>
            <p:nvPr userDrawn="1"/>
          </p:nvPicPr>
          <p:blipFill>
            <a:blip r:embed="rId25" cstate="hqprint">
              <a:extLst>
                <a:ext uri="{28A0092B-C50C-407E-A947-70E740481C1C}">
                  <a14:useLocalDpi xmlns:a14="http://schemas.microsoft.com/office/drawing/2010/main" val="0"/>
                </a:ext>
              </a:extLst>
            </a:blip>
            <a:stretch>
              <a:fillRect/>
            </a:stretch>
          </p:blipFill>
          <p:spPr>
            <a:xfrm>
              <a:off x="-2396372" y="601200"/>
              <a:ext cx="288000" cy="288000"/>
            </a:xfrm>
            <a:prstGeom prst="rect">
              <a:avLst/>
            </a:prstGeom>
          </p:spPr>
        </p:pic>
        <p:sp>
          <p:nvSpPr>
            <p:cNvPr id="124" name="Прямоугольник 123">
              <a:extLst>
                <a:ext uri="{FF2B5EF4-FFF2-40B4-BE49-F238E27FC236}">
                  <a16:creationId xmlns:a16="http://schemas.microsoft.com/office/drawing/2014/main" id="{8F81D259-5F68-E844-A80B-AF91C96F14A8}"/>
                </a:ext>
              </a:extLst>
            </p:cNvPr>
            <p:cNvSpPr/>
            <p:nvPr userDrawn="1"/>
          </p:nvSpPr>
          <p:spPr>
            <a:xfrm>
              <a:off x="-5093665" y="571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5" name="TextBox 134">
              <a:extLst>
                <a:ext uri="{FF2B5EF4-FFF2-40B4-BE49-F238E27FC236}">
                  <a16:creationId xmlns:a16="http://schemas.microsoft.com/office/drawing/2014/main" id="{AB143CA4-A188-3848-BB0B-A3FA835D841D}"/>
                </a:ext>
              </a:extLst>
            </p:cNvPr>
            <p:cNvSpPr txBox="1"/>
            <p:nvPr userDrawn="1"/>
          </p:nvSpPr>
          <p:spPr>
            <a:xfrm>
              <a:off x="-4489176" y="58137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37" name="Рисунок 136">
              <a:extLst>
                <a:ext uri="{FF2B5EF4-FFF2-40B4-BE49-F238E27FC236}">
                  <a16:creationId xmlns:a16="http://schemas.microsoft.com/office/drawing/2014/main" id="{90510E33-CA11-F14E-A863-2DF7B4082C59}"/>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4924394" y="5785200"/>
              <a:ext cx="288000" cy="288000"/>
            </a:xfrm>
            <a:prstGeom prst="rect">
              <a:avLst/>
            </a:prstGeom>
          </p:spPr>
        </p:pic>
        <p:sp>
          <p:nvSpPr>
            <p:cNvPr id="217" name="Прямоугольник 216">
              <a:extLst>
                <a:ext uri="{FF2B5EF4-FFF2-40B4-BE49-F238E27FC236}">
                  <a16:creationId xmlns:a16="http://schemas.microsoft.com/office/drawing/2014/main" id="{55F1BF3E-C3B7-584A-A6F9-EC8004508276}"/>
                </a:ext>
              </a:extLst>
            </p:cNvPr>
            <p:cNvSpPr/>
            <p:nvPr userDrawn="1"/>
          </p:nvSpPr>
          <p:spPr>
            <a:xfrm>
              <a:off x="-2567895" y="571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8" name="TextBox 217">
              <a:extLst>
                <a:ext uri="{FF2B5EF4-FFF2-40B4-BE49-F238E27FC236}">
                  <a16:creationId xmlns:a16="http://schemas.microsoft.com/office/drawing/2014/main" id="{AC821BF5-A328-5B4E-9D52-F365F9EE0893}"/>
                </a:ext>
              </a:extLst>
            </p:cNvPr>
            <p:cNvSpPr txBox="1"/>
            <p:nvPr userDrawn="1"/>
          </p:nvSpPr>
          <p:spPr>
            <a:xfrm>
              <a:off x="-1963406" y="58137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340" name="Рисунок 339">
              <a:extLst>
                <a:ext uri="{FF2B5EF4-FFF2-40B4-BE49-F238E27FC236}">
                  <a16:creationId xmlns:a16="http://schemas.microsoft.com/office/drawing/2014/main" id="{F1B954CD-F432-3F4D-8A1B-A1646C40FEF4}"/>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2396372" y="5785200"/>
              <a:ext cx="288000" cy="288000"/>
            </a:xfrm>
            <a:prstGeom prst="rect">
              <a:avLst/>
            </a:prstGeom>
          </p:spPr>
        </p:pic>
        <p:sp>
          <p:nvSpPr>
            <p:cNvPr id="125" name="Прямоугольник 124">
              <a:extLst>
                <a:ext uri="{FF2B5EF4-FFF2-40B4-BE49-F238E27FC236}">
                  <a16:creationId xmlns:a16="http://schemas.microsoft.com/office/drawing/2014/main" id="{F8BA2D93-3381-3F41-A673-E1B470476389}"/>
                </a:ext>
              </a:extLst>
            </p:cNvPr>
            <p:cNvSpPr/>
            <p:nvPr userDrawn="1"/>
          </p:nvSpPr>
          <p:spPr>
            <a:xfrm>
              <a:off x="-5093665" y="614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6" name="TextBox 135">
              <a:extLst>
                <a:ext uri="{FF2B5EF4-FFF2-40B4-BE49-F238E27FC236}">
                  <a16:creationId xmlns:a16="http://schemas.microsoft.com/office/drawing/2014/main" id="{CF97D0CF-B80E-4846-ABF6-06736C7556E8}"/>
                </a:ext>
              </a:extLst>
            </p:cNvPr>
            <p:cNvSpPr txBox="1"/>
            <p:nvPr userDrawn="1"/>
          </p:nvSpPr>
          <p:spPr>
            <a:xfrm>
              <a:off x="-4489176" y="62457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46" name="Рисунок 145">
              <a:extLst>
                <a:ext uri="{FF2B5EF4-FFF2-40B4-BE49-F238E27FC236}">
                  <a16:creationId xmlns:a16="http://schemas.microsoft.com/office/drawing/2014/main" id="{A987CB5B-BE98-A342-BE63-2B9C70A990B1}"/>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4924394" y="6217200"/>
              <a:ext cx="288000" cy="288000"/>
            </a:xfrm>
            <a:prstGeom prst="rect">
              <a:avLst/>
            </a:prstGeom>
          </p:spPr>
        </p:pic>
        <p:sp>
          <p:nvSpPr>
            <p:cNvPr id="161" name="Прямоугольник 160">
              <a:extLst>
                <a:ext uri="{FF2B5EF4-FFF2-40B4-BE49-F238E27FC236}">
                  <a16:creationId xmlns:a16="http://schemas.microsoft.com/office/drawing/2014/main" id="{D8A668F4-7A40-354E-9F3F-F546A77CD83E}"/>
                </a:ext>
              </a:extLst>
            </p:cNvPr>
            <p:cNvSpPr/>
            <p:nvPr userDrawn="1"/>
          </p:nvSpPr>
          <p:spPr>
            <a:xfrm>
              <a:off x="-2567895" y="614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2" name="TextBox 161">
              <a:extLst>
                <a:ext uri="{FF2B5EF4-FFF2-40B4-BE49-F238E27FC236}">
                  <a16:creationId xmlns:a16="http://schemas.microsoft.com/office/drawing/2014/main" id="{42FAF9B6-A2BA-2543-B4B0-80B4978F0E11}"/>
                </a:ext>
              </a:extLst>
            </p:cNvPr>
            <p:cNvSpPr txBox="1"/>
            <p:nvPr userDrawn="1"/>
          </p:nvSpPr>
          <p:spPr>
            <a:xfrm>
              <a:off x="-1963406" y="62457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342" name="Рисунок 341">
              <a:extLst>
                <a:ext uri="{FF2B5EF4-FFF2-40B4-BE49-F238E27FC236}">
                  <a16:creationId xmlns:a16="http://schemas.microsoft.com/office/drawing/2014/main" id="{7BFE5B7C-FBDE-6546-BA3D-8114632BF92E}"/>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2396372" y="6217200"/>
              <a:ext cx="288000" cy="288000"/>
            </a:xfrm>
            <a:prstGeom prst="rect">
              <a:avLst/>
            </a:prstGeom>
          </p:spPr>
        </p:pic>
      </p:grpSp>
      <p:sp>
        <p:nvSpPr>
          <p:cNvPr id="207" name="Прямоугольник 206">
            <a:extLst>
              <a:ext uri="{FF2B5EF4-FFF2-40B4-BE49-F238E27FC236}">
                <a16:creationId xmlns:a16="http://schemas.microsoft.com/office/drawing/2014/main" id="{0A0A5862-03DB-A440-A69A-FAD6F62D35C2}"/>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8" name="TextBox 207">
            <a:extLst>
              <a:ext uri="{FF2B5EF4-FFF2-40B4-BE49-F238E27FC236}">
                <a16:creationId xmlns:a16="http://schemas.microsoft.com/office/drawing/2014/main" id="{42C836AA-8970-C349-863B-6E901350852B}"/>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211" name="Рисунок 210">
            <a:extLst>
              <a:ext uri="{FF2B5EF4-FFF2-40B4-BE49-F238E27FC236}">
                <a16:creationId xmlns:a16="http://schemas.microsoft.com/office/drawing/2014/main" id="{23722B29-4A6A-D04F-9A91-9F31C700AF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212" name="Прямоугольник 211">
            <a:extLst>
              <a:ext uri="{FF2B5EF4-FFF2-40B4-BE49-F238E27FC236}">
                <a16:creationId xmlns:a16="http://schemas.microsoft.com/office/drawing/2014/main" id="{968152FB-9C8C-0141-9784-F761E39A912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5" name="TextBox 214">
            <a:extLst>
              <a:ext uri="{FF2B5EF4-FFF2-40B4-BE49-F238E27FC236}">
                <a16:creationId xmlns:a16="http://schemas.microsoft.com/office/drawing/2014/main" id="{5CBBF507-561A-4140-8F9A-30016B3EB579}"/>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216" name="Рисунок 215">
            <a:extLst>
              <a:ext uri="{FF2B5EF4-FFF2-40B4-BE49-F238E27FC236}">
                <a16:creationId xmlns:a16="http://schemas.microsoft.com/office/drawing/2014/main" id="{EEE81BA0-F509-AF40-BDE7-B6EB56C0877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219" name="Прямоугольник 218">
            <a:extLst>
              <a:ext uri="{FF2B5EF4-FFF2-40B4-BE49-F238E27FC236}">
                <a16:creationId xmlns:a16="http://schemas.microsoft.com/office/drawing/2014/main" id="{65A89517-AD68-8D4B-A470-8E49B6A3236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0" name="TextBox 219">
            <a:extLst>
              <a:ext uri="{FF2B5EF4-FFF2-40B4-BE49-F238E27FC236}">
                <a16:creationId xmlns:a16="http://schemas.microsoft.com/office/drawing/2014/main" id="{B3A7A76B-3DC5-F34E-BA0C-5C87135B9EF0}"/>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221" name="Рисунок 220">
            <a:extLst>
              <a:ext uri="{FF2B5EF4-FFF2-40B4-BE49-F238E27FC236}">
                <a16:creationId xmlns:a16="http://schemas.microsoft.com/office/drawing/2014/main" id="{AC30EFA7-9B2C-534C-8F71-FE4498E2673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222" name="Прямоугольник 221">
            <a:extLst>
              <a:ext uri="{FF2B5EF4-FFF2-40B4-BE49-F238E27FC236}">
                <a16:creationId xmlns:a16="http://schemas.microsoft.com/office/drawing/2014/main" id="{B4024505-4889-AA44-B923-120D73D4BD01}"/>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3" name="TextBox 222">
            <a:extLst>
              <a:ext uri="{FF2B5EF4-FFF2-40B4-BE49-F238E27FC236}">
                <a16:creationId xmlns:a16="http://schemas.microsoft.com/office/drawing/2014/main" id="{A5D25E99-9377-A544-80A1-12016A7AA5D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24" name="Рисунок 223">
            <a:extLst>
              <a:ext uri="{FF2B5EF4-FFF2-40B4-BE49-F238E27FC236}">
                <a16:creationId xmlns:a16="http://schemas.microsoft.com/office/drawing/2014/main" id="{DC1DF41E-13AD-1347-8110-FB771122975D}"/>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225" name="Прямоугольник 224">
            <a:extLst>
              <a:ext uri="{FF2B5EF4-FFF2-40B4-BE49-F238E27FC236}">
                <a16:creationId xmlns:a16="http://schemas.microsoft.com/office/drawing/2014/main" id="{AED58F0E-5BCE-5044-B8AD-3D907988CC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6" name="TextBox 225">
            <a:extLst>
              <a:ext uri="{FF2B5EF4-FFF2-40B4-BE49-F238E27FC236}">
                <a16:creationId xmlns:a16="http://schemas.microsoft.com/office/drawing/2014/main" id="{72340C4A-2C86-9042-AB11-DA90A7C5D804}"/>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27" name="Рисунок 226">
            <a:extLst>
              <a:ext uri="{FF2B5EF4-FFF2-40B4-BE49-F238E27FC236}">
                <a16:creationId xmlns:a16="http://schemas.microsoft.com/office/drawing/2014/main" id="{E0BDE77D-CC0B-6040-AAA5-8045D9F85A3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228" name="Прямоугольник 227">
            <a:extLst>
              <a:ext uri="{FF2B5EF4-FFF2-40B4-BE49-F238E27FC236}">
                <a16:creationId xmlns:a16="http://schemas.microsoft.com/office/drawing/2014/main" id="{E1E48A4B-F12A-0944-94E6-5525B1575E20}"/>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9" name="TextBox 228">
            <a:extLst>
              <a:ext uri="{FF2B5EF4-FFF2-40B4-BE49-F238E27FC236}">
                <a16:creationId xmlns:a16="http://schemas.microsoft.com/office/drawing/2014/main" id="{BB838640-8F34-B547-9D92-E06C6DD46C9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230" name="Рисунок 229">
            <a:extLst>
              <a:ext uri="{FF2B5EF4-FFF2-40B4-BE49-F238E27FC236}">
                <a16:creationId xmlns:a16="http://schemas.microsoft.com/office/drawing/2014/main" id="{8B333188-16AB-7646-8A6A-05EB031C70B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231" name="Прямоугольник 230">
            <a:extLst>
              <a:ext uri="{FF2B5EF4-FFF2-40B4-BE49-F238E27FC236}">
                <a16:creationId xmlns:a16="http://schemas.microsoft.com/office/drawing/2014/main" id="{A663349D-7BA6-3345-A25C-53166DA20F90}"/>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2" name="TextBox 231">
            <a:extLst>
              <a:ext uri="{FF2B5EF4-FFF2-40B4-BE49-F238E27FC236}">
                <a16:creationId xmlns:a16="http://schemas.microsoft.com/office/drawing/2014/main" id="{3481EBA2-23C4-114D-91BB-A94A9E081374}"/>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233" name="Рисунок 232">
            <a:extLst>
              <a:ext uri="{FF2B5EF4-FFF2-40B4-BE49-F238E27FC236}">
                <a16:creationId xmlns:a16="http://schemas.microsoft.com/office/drawing/2014/main" id="{11AA79E8-0299-AD4C-9045-DE365DA2CFD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234" name="Прямоугольник 233">
            <a:extLst>
              <a:ext uri="{FF2B5EF4-FFF2-40B4-BE49-F238E27FC236}">
                <a16:creationId xmlns:a16="http://schemas.microsoft.com/office/drawing/2014/main" id="{F12BD24E-BD37-DF43-B294-C89212BC587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5" name="TextBox 234">
            <a:extLst>
              <a:ext uri="{FF2B5EF4-FFF2-40B4-BE49-F238E27FC236}">
                <a16:creationId xmlns:a16="http://schemas.microsoft.com/office/drawing/2014/main" id="{681D3870-C128-4C48-AC42-5CAB252D82E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236" name="Рисунок 235">
            <a:extLst>
              <a:ext uri="{FF2B5EF4-FFF2-40B4-BE49-F238E27FC236}">
                <a16:creationId xmlns:a16="http://schemas.microsoft.com/office/drawing/2014/main" id="{A5E72FB6-4D59-394B-ACC0-813870D237AD}"/>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237" name="Прямоугольник 236">
            <a:extLst>
              <a:ext uri="{FF2B5EF4-FFF2-40B4-BE49-F238E27FC236}">
                <a16:creationId xmlns:a16="http://schemas.microsoft.com/office/drawing/2014/main" id="{F32BD1D7-6E30-CB40-8A38-FAB11E37DE0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8" name="TextBox 237">
            <a:extLst>
              <a:ext uri="{FF2B5EF4-FFF2-40B4-BE49-F238E27FC236}">
                <a16:creationId xmlns:a16="http://schemas.microsoft.com/office/drawing/2014/main" id="{810B3434-A831-5D48-9A7B-8E2C231CE96E}"/>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239" name="Рисунок 238">
            <a:extLst>
              <a:ext uri="{FF2B5EF4-FFF2-40B4-BE49-F238E27FC236}">
                <a16:creationId xmlns:a16="http://schemas.microsoft.com/office/drawing/2014/main" id="{94B4312E-88C9-9641-A630-B1ED93C0BB77}"/>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240" name="Прямоугольник 239">
            <a:extLst>
              <a:ext uri="{FF2B5EF4-FFF2-40B4-BE49-F238E27FC236}">
                <a16:creationId xmlns:a16="http://schemas.microsoft.com/office/drawing/2014/main" id="{0E85EDA0-A6A8-B841-8A3E-89C73C214DE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1" name="TextBox 240">
            <a:extLst>
              <a:ext uri="{FF2B5EF4-FFF2-40B4-BE49-F238E27FC236}">
                <a16:creationId xmlns:a16="http://schemas.microsoft.com/office/drawing/2014/main" id="{1F03F0F9-E8AD-284C-B4B1-C66B2E49417B}"/>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242" name="Рисунок 241">
            <a:extLst>
              <a:ext uri="{FF2B5EF4-FFF2-40B4-BE49-F238E27FC236}">
                <a16:creationId xmlns:a16="http://schemas.microsoft.com/office/drawing/2014/main" id="{E736CA39-155B-1E43-B0E4-7E085570FAB5}"/>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243" name="Прямоугольник 242">
            <a:extLst>
              <a:ext uri="{FF2B5EF4-FFF2-40B4-BE49-F238E27FC236}">
                <a16:creationId xmlns:a16="http://schemas.microsoft.com/office/drawing/2014/main" id="{08357720-E8B4-E948-A2B3-4976B5918BF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4" name="TextBox 243">
            <a:extLst>
              <a:ext uri="{FF2B5EF4-FFF2-40B4-BE49-F238E27FC236}">
                <a16:creationId xmlns:a16="http://schemas.microsoft.com/office/drawing/2014/main" id="{C68115D2-7233-5F40-8AFD-9294540BCBF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245" name="Рисунок 244">
            <a:extLst>
              <a:ext uri="{FF2B5EF4-FFF2-40B4-BE49-F238E27FC236}">
                <a16:creationId xmlns:a16="http://schemas.microsoft.com/office/drawing/2014/main" id="{7210B3AA-B3BB-F942-B2E6-3D66060E2DBF}"/>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246" name="Прямоугольник 245">
            <a:extLst>
              <a:ext uri="{FF2B5EF4-FFF2-40B4-BE49-F238E27FC236}">
                <a16:creationId xmlns:a16="http://schemas.microsoft.com/office/drawing/2014/main" id="{9061AAAB-8F17-C04A-B527-E6B7A72A24B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7" name="TextBox 246">
            <a:extLst>
              <a:ext uri="{FF2B5EF4-FFF2-40B4-BE49-F238E27FC236}">
                <a16:creationId xmlns:a16="http://schemas.microsoft.com/office/drawing/2014/main" id="{2D15E669-6A8E-1043-9336-D5E60947C37F}"/>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248" name="Рисунок 247">
            <a:extLst>
              <a:ext uri="{FF2B5EF4-FFF2-40B4-BE49-F238E27FC236}">
                <a16:creationId xmlns:a16="http://schemas.microsoft.com/office/drawing/2014/main" id="{C8605465-ECE5-2A4D-BBC5-AB91AF8EC813}"/>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249" name="Прямоугольник 248">
            <a:extLst>
              <a:ext uri="{FF2B5EF4-FFF2-40B4-BE49-F238E27FC236}">
                <a16:creationId xmlns:a16="http://schemas.microsoft.com/office/drawing/2014/main" id="{96EE7546-CDA5-D641-A768-00B23BC7534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0" name="TextBox 249">
            <a:extLst>
              <a:ext uri="{FF2B5EF4-FFF2-40B4-BE49-F238E27FC236}">
                <a16:creationId xmlns:a16="http://schemas.microsoft.com/office/drawing/2014/main" id="{044C208F-BB8B-594E-BCF6-081894CBE93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251" name="Рисунок 250">
            <a:extLst>
              <a:ext uri="{FF2B5EF4-FFF2-40B4-BE49-F238E27FC236}">
                <a16:creationId xmlns:a16="http://schemas.microsoft.com/office/drawing/2014/main" id="{1114ADE5-33A7-4E40-BF1A-1343F8391AC1}"/>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252" name="Прямоугольник 251">
            <a:extLst>
              <a:ext uri="{FF2B5EF4-FFF2-40B4-BE49-F238E27FC236}">
                <a16:creationId xmlns:a16="http://schemas.microsoft.com/office/drawing/2014/main" id="{7478E0D9-AFC9-4041-9434-AEF3C633E38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3" name="TextBox 252">
            <a:extLst>
              <a:ext uri="{FF2B5EF4-FFF2-40B4-BE49-F238E27FC236}">
                <a16:creationId xmlns:a16="http://schemas.microsoft.com/office/drawing/2014/main" id="{4C1DD18C-C511-6B4D-8D3A-84F3B11F942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254" name="Рисунок 253">
            <a:extLst>
              <a:ext uri="{FF2B5EF4-FFF2-40B4-BE49-F238E27FC236}">
                <a16:creationId xmlns:a16="http://schemas.microsoft.com/office/drawing/2014/main" id="{CD974F71-B1CE-964C-BB01-E956C2C34EB8}"/>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9" name="Прямоугольник 138">
            <a:extLst>
              <a:ext uri="{FF2B5EF4-FFF2-40B4-BE49-F238E27FC236}">
                <a16:creationId xmlns:a16="http://schemas.microsoft.com/office/drawing/2014/main" id="{F7A6714F-3C4B-794A-828D-DB2F8A2A950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50" name="Рисунок 149">
            <a:extLst>
              <a:ext uri="{FF2B5EF4-FFF2-40B4-BE49-F238E27FC236}">
                <a16:creationId xmlns:a16="http://schemas.microsoft.com/office/drawing/2014/main" id="{63F3A46F-5FB4-0248-8F8A-34F250DB0B02}"/>
              </a:ext>
            </a:extLst>
          </p:cNvPr>
          <p:cNvPicPr>
            <a:picLocks noChangeAspect="1"/>
          </p:cNvPicPr>
          <p:nvPr userDrawn="1"/>
        </p:nvPicPr>
        <p:blipFill rotWithShape="1">
          <a:blip r:embed="rId30"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spTree>
    <p:extLst>
      <p:ext uri="{BB962C8B-B14F-4D97-AF65-F5344CB8AC3E}">
        <p14:creationId xmlns:p14="http://schemas.microsoft.com/office/powerpoint/2010/main" val="17983704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Мониторинг КПЭ">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2911D6F-3963-2549-BAB8-156C2C9A370A}"/>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8900C2C-F08F-9440-B651-250A8B029F67}"/>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3BD6C48-99AC-894A-AF32-B3CEBA025F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6FEF088B-0C1A-7D41-B42F-465F2D10AFB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A80E793-28E0-7B45-BE3D-BB9C5DCF7F93}"/>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7B529092-BF87-4541-B368-D4F955B450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44134F-E7F4-4C4B-A2A6-06BE4CCCDA83}"/>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D2C5F92-922B-8644-9267-2C4DF30504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8B515C9-560A-9E4E-A889-11AA28B2692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2B6C16D-E325-0F49-AB28-E7483C3CC61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EFBB6DF-9976-CC49-AAB9-2F5FDDD17D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162622E-7B42-4F4D-BC60-9CF0CD50A9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5F87F52-8A16-9940-BF55-7C8122753BD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6184F337-D850-3C43-ACB0-9CA2D515368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11282BBF-74E1-364A-AD7B-8EED4E77E62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F5E27E4-4326-704E-9D37-9E217EAB291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C170A73-B2CF-CE41-AF47-990A7D25EC4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E7600665-B2A6-0C42-A9B5-6D24D1C4355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6263EC6-0B06-A84D-9995-C971C4D2311C}"/>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F1E9AF0-EC07-AA4A-8901-C6EA51A80E2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77D292-2F3A-8D44-9C87-0610F32007A5}"/>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77F4D72-D372-3B44-AB36-1F2870FB3B7B}"/>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F3434A6-FDE7-1C4B-898D-B90C7EBC06F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2A64E19-416F-E146-BE1F-97A8CE8739C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004F0EF6-5935-4044-B21A-B735745880C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CF8E0FE-8BFD-BA44-8309-1927C4C07B5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D5BA67D-5BA8-F94A-8D0E-782B8EEEB444}"/>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00AFB0D-849B-684C-92C3-914C68B8C606}"/>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5AC32FC8-8DDB-E549-A765-2FB44019845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0BAFE81B-9687-4A44-B835-DA6DEAAE46BD}"/>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672D2D8-0DB0-C34E-ADBC-3E6602C63F3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7C5A18B2-905E-F641-A171-F5CEEFA9D98C}"/>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B17682F-79D6-3442-9587-4018B4E2135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 name="TextBox 89">
            <a:extLst>
              <a:ext uri="{FF2B5EF4-FFF2-40B4-BE49-F238E27FC236}">
                <a16:creationId xmlns:a16="http://schemas.microsoft.com/office/drawing/2014/main" id="{77102DF2-3E64-CA48-A02F-770198EA1A83}"/>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1" name="Рисунок 90">
            <a:extLst>
              <a:ext uri="{FF2B5EF4-FFF2-40B4-BE49-F238E27FC236}">
                <a16:creationId xmlns:a16="http://schemas.microsoft.com/office/drawing/2014/main" id="{28CDA5E5-FFFF-DF4D-9248-AB3308DC9DDD}"/>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2" name="Прямоугольник 91">
            <a:extLst>
              <a:ext uri="{FF2B5EF4-FFF2-40B4-BE49-F238E27FC236}">
                <a16:creationId xmlns:a16="http://schemas.microsoft.com/office/drawing/2014/main" id="{5B9C4F70-5EAB-F940-951E-41402FA17D14}"/>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 name="TextBox 92">
            <a:extLst>
              <a:ext uri="{FF2B5EF4-FFF2-40B4-BE49-F238E27FC236}">
                <a16:creationId xmlns:a16="http://schemas.microsoft.com/office/drawing/2014/main" id="{9C17B975-6313-B547-A4D5-7F4D89686AA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95" name="Рисунок 94">
            <a:extLst>
              <a:ext uri="{FF2B5EF4-FFF2-40B4-BE49-F238E27FC236}">
                <a16:creationId xmlns:a16="http://schemas.microsoft.com/office/drawing/2014/main" id="{9D065C59-C937-E743-8584-757F7F538FA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99" name="Прямоугольник 98">
            <a:extLst>
              <a:ext uri="{FF2B5EF4-FFF2-40B4-BE49-F238E27FC236}">
                <a16:creationId xmlns:a16="http://schemas.microsoft.com/office/drawing/2014/main" id="{8DC1477B-F7CB-474C-8BC6-362B252DB82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69C38114-DC3E-0947-921E-9EE99E080FB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01" name="Рисунок 100">
            <a:extLst>
              <a:ext uri="{FF2B5EF4-FFF2-40B4-BE49-F238E27FC236}">
                <a16:creationId xmlns:a16="http://schemas.microsoft.com/office/drawing/2014/main" id="{5FC149C7-097E-134B-BA79-FE7F5A785FB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02" name="Прямоугольник 101">
            <a:extLst>
              <a:ext uri="{FF2B5EF4-FFF2-40B4-BE49-F238E27FC236}">
                <a16:creationId xmlns:a16="http://schemas.microsoft.com/office/drawing/2014/main" id="{103C7277-784E-8540-B91F-A778287DD6B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BEEB009F-7CDB-E242-9E6A-BBE0B3879C36}"/>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04" name="Рисунок 103">
            <a:extLst>
              <a:ext uri="{FF2B5EF4-FFF2-40B4-BE49-F238E27FC236}">
                <a16:creationId xmlns:a16="http://schemas.microsoft.com/office/drawing/2014/main" id="{2BFE543A-F061-5645-911D-194E0734B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8" name="Прямоугольник 137">
            <a:extLst>
              <a:ext uri="{FF2B5EF4-FFF2-40B4-BE49-F238E27FC236}">
                <a16:creationId xmlns:a16="http://schemas.microsoft.com/office/drawing/2014/main" id="{4CC2323C-6A9E-4240-BA4D-40C1CEBA5495}"/>
              </a:ext>
            </a:extLst>
          </p:cNvPr>
          <p:cNvSpPr/>
          <p:nvPr userDrawn="1"/>
        </p:nvSpPr>
        <p:spPr>
          <a:xfrm>
            <a:off x="0" y="54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9" name="TextBox 138">
            <a:extLst>
              <a:ext uri="{FF2B5EF4-FFF2-40B4-BE49-F238E27FC236}">
                <a16:creationId xmlns:a16="http://schemas.microsoft.com/office/drawing/2014/main" id="{36064FD3-4795-9E4B-A0A0-C4E2F733B33B}"/>
              </a:ext>
            </a:extLst>
          </p:cNvPr>
          <p:cNvSpPr txBox="1"/>
          <p:nvPr userDrawn="1"/>
        </p:nvSpPr>
        <p:spPr>
          <a:xfrm>
            <a:off x="604489" y="6405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140" name="Рисунок 139">
            <a:extLst>
              <a:ext uri="{FF2B5EF4-FFF2-40B4-BE49-F238E27FC236}">
                <a16:creationId xmlns:a16="http://schemas.microsoft.com/office/drawing/2014/main" id="{E0C967F9-2C44-3C48-BA7D-10F706D9C1A5}"/>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612000"/>
            <a:ext cx="288000" cy="288000"/>
          </a:xfrm>
          <a:prstGeom prst="rect">
            <a:avLst/>
          </a:prstGeom>
        </p:spPr>
      </p:pic>
      <p:sp>
        <p:nvSpPr>
          <p:cNvPr id="53" name="Прямоугольник 52">
            <a:extLst>
              <a:ext uri="{FF2B5EF4-FFF2-40B4-BE49-F238E27FC236}">
                <a16:creationId xmlns:a16="http://schemas.microsoft.com/office/drawing/2014/main" id="{646ECFDF-F0B2-4043-BE56-E3A909CF681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D172D85-9CC8-A345-945D-3FC86717EB04}"/>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138760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41499552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Календарь событий">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9AC7A6EF-2731-F046-9340-D8335C227DB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E371AA9-EFBB-9A4A-B006-D9977C8192DE}"/>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F21F700-E318-0C4C-80E2-474F50DE336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CBEBAB2-0138-3545-94E3-F318AFF4640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0BF67A6-BE76-FB48-B823-EAF335E0C2AF}"/>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8200AA02-9FB0-684B-9A73-A35A4AE123C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8BE1DA0-5352-1142-82F6-110C2AD79A3A}"/>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AFD95B1-1D63-C849-9294-0E250A16041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181926F7-A984-2A41-A3B2-2BBF79A55CF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A7D4B31-059D-4842-8F61-1E6B21F42B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82F7E04-5079-D14B-B22F-E55C13F9F46B}"/>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9F63D9E-6D8B-3944-9EB0-80F5CAD5642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1757DEE-9547-1145-B0E5-1250AE1BE0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8247C9C-9324-D043-9F5F-94BB6C1E8D2A}"/>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E7CFB55A-9149-0542-8D1E-98195292148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87CBAA0-785A-A94D-882D-CBF1CB1AA28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D7251ED-27D2-0044-B602-59739F3C3296}"/>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32AD8FB-CC58-2848-A460-BCCD853CC46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72444AC0-D840-CA41-B669-0A4F16FEFC77}"/>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A13EE542-E774-9246-BE7A-FDCF37EEC4D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0397C1A-3DEA-4446-B270-AC540AC8150E}"/>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5AD05D-F4BD-7244-B219-409C4429FC3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B27106-DCE4-E24C-A707-B03E74E18239}"/>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FD80163-178B-2D41-AC43-23AAA1598A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423DDE2E-4AD5-F24A-AF06-B1A86986F49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6B15D4-147A-5649-8CEF-147DF6E2D3F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9B07AA80-4EA0-2C40-8A70-1C532093464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7E0E205-27A6-7641-9673-944997353D53}"/>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6" name="Прямоугольник 85">
            <a:extLst>
              <a:ext uri="{FF2B5EF4-FFF2-40B4-BE49-F238E27FC236}">
                <a16:creationId xmlns:a16="http://schemas.microsoft.com/office/drawing/2014/main" id="{664E5CCC-FA5C-DE46-8C49-6B8F75CAB68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DD7AB78-01B4-DB44-B678-EBF8D7E2EBF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20FBA94-3750-BC41-A29E-A2ADD3C55BE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E1A9A21B-F4E7-EF41-BBA3-EF3B2088F127}"/>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0650505C-451A-8C4E-8A92-7D51AA6BACA0}"/>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57FE7CE8-5631-6746-BE81-1347C15B7CB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0EC76742-38B6-7043-8608-9E21820A8E33}"/>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224C703D-2BE6-CB49-99B3-FA8CE9027ABA}"/>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AF5DF4B9-DA5C-3B46-BA60-39BCD4AB2992}"/>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C65FD8C4-A7B6-9545-945E-47424E255D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AAFD8516-83DB-FF4C-8AD7-0E54274ECD2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EF42D8E7-1760-D94E-87DC-625A6E3B5889}"/>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527A3BF6-FE6C-F34C-8724-863B35B459F9}"/>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4A1EE02-C394-B149-BD71-D124B9FC27A2}"/>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6" name="Рисунок 115">
            <a:extLst>
              <a:ext uri="{FF2B5EF4-FFF2-40B4-BE49-F238E27FC236}">
                <a16:creationId xmlns:a16="http://schemas.microsoft.com/office/drawing/2014/main" id="{89EF3026-DCCE-6B43-A867-50213472160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7" name="Прямоугольник 116">
            <a:extLst>
              <a:ext uri="{FF2B5EF4-FFF2-40B4-BE49-F238E27FC236}">
                <a16:creationId xmlns:a16="http://schemas.microsoft.com/office/drawing/2014/main" id="{C521788E-9CDF-C94B-BC80-5736D1CA91E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8" name="TextBox 117">
            <a:extLst>
              <a:ext uri="{FF2B5EF4-FFF2-40B4-BE49-F238E27FC236}">
                <a16:creationId xmlns:a16="http://schemas.microsoft.com/office/drawing/2014/main" id="{84258B79-D0F7-A24A-8A4A-52502D590BFA}"/>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9" name="Рисунок 118">
            <a:extLst>
              <a:ext uri="{FF2B5EF4-FFF2-40B4-BE49-F238E27FC236}">
                <a16:creationId xmlns:a16="http://schemas.microsoft.com/office/drawing/2014/main" id="{8C253F3C-90C4-1444-8AAD-B1A8DC31228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9" name="Прямоугольник 158">
            <a:extLst>
              <a:ext uri="{FF2B5EF4-FFF2-40B4-BE49-F238E27FC236}">
                <a16:creationId xmlns:a16="http://schemas.microsoft.com/office/drawing/2014/main" id="{548D4854-4171-1F41-8F6F-258A2DCB6E27}"/>
              </a:ext>
            </a:extLst>
          </p:cNvPr>
          <p:cNvSpPr/>
          <p:nvPr userDrawn="1"/>
        </p:nvSpPr>
        <p:spPr>
          <a:xfrm>
            <a:off x="0" y="97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5" name="TextBox 174">
            <a:extLst>
              <a:ext uri="{FF2B5EF4-FFF2-40B4-BE49-F238E27FC236}">
                <a16:creationId xmlns:a16="http://schemas.microsoft.com/office/drawing/2014/main" id="{E5BE9831-0B6C-E04C-97A5-D36F50959E20}"/>
              </a:ext>
            </a:extLst>
          </p:cNvPr>
          <p:cNvSpPr txBox="1"/>
          <p:nvPr userDrawn="1"/>
        </p:nvSpPr>
        <p:spPr>
          <a:xfrm>
            <a:off x="604489" y="10725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176" name="Рисунок 175">
            <a:extLst>
              <a:ext uri="{FF2B5EF4-FFF2-40B4-BE49-F238E27FC236}">
                <a16:creationId xmlns:a16="http://schemas.microsoft.com/office/drawing/2014/main" id="{E673772C-EDB8-294A-8C21-8F8AC1C21C89}"/>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044000"/>
            <a:ext cx="288000" cy="288000"/>
          </a:xfrm>
          <a:prstGeom prst="rect">
            <a:avLst/>
          </a:prstGeom>
        </p:spPr>
      </p:pic>
      <p:sp>
        <p:nvSpPr>
          <p:cNvPr id="53" name="Прямоугольник 52">
            <a:extLst>
              <a:ext uri="{FF2B5EF4-FFF2-40B4-BE49-F238E27FC236}">
                <a16:creationId xmlns:a16="http://schemas.microsoft.com/office/drawing/2014/main" id="{1B975F0A-56CC-514F-BE4D-9A634947AB32}"/>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C8316A8-8131-6549-ABA6-F553F0A7388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642729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_Приоритеты недел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7C0D7C3-CC59-3B49-ABC6-4F846449785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46692CE3-CF99-6C4D-AF87-4EEE237AD060}"/>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3D8E97D-D9AF-1B47-B901-3877729DACA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B99702D-BE99-3C48-82DF-F0156E50206C}"/>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780E29A5-9D79-834B-93D1-74EC3CE41E5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33B57FE-B444-084B-A8A8-48BF6BF3E11E}"/>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46261A-B3EA-824B-87A4-9883D3ABB52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9E23B9-6290-744E-96C0-98100FB04AC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847FD6FF-C589-EE48-BDB5-01C265C9059D}"/>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C22DFD4-262F-064D-843A-C0550669B3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BD48109-ED40-6044-B297-4A5709FA33E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2ECBBF4D-D2BA-DE47-B942-752346F0F287}"/>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3CD0BAC3-0E12-0149-A0AF-FA1659F858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E97D1CA2-FB55-BB44-A76A-C3520AE45D4E}"/>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193CA87-C392-374F-BCDB-1D816A3CD51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FC98A43-2BEE-674C-A26A-63BFC595D40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9C6E907-A248-4E41-8C5F-E3B7AB993B1B}"/>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2FB38145-B4F8-1947-841A-7489A4C072CB}"/>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543066D-AD39-7F43-AB66-47779AF6D16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34917F6-DBDC-944A-9D78-7EAE0EA9A92A}"/>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D7681A0-7D78-5845-A7D1-9A4FD7DF737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CA15904-8A47-3A46-8CF2-1636F18BEE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17ABE55-0EB2-B443-9C4F-356573931BC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C95BDB0-BCF3-254D-AF7B-59B854D81E3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2695740B-A6DF-CA41-8C3C-8D63BDF0A45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117B474-9292-BF45-A978-B9DD25D5F048}"/>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B4E3AE74-7B37-354C-8992-1EAA3F66A57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DE1D619-ABB7-D140-B706-1A7901FE6C0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9B3A3999-4787-4045-96CD-37CF655B5D7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AB970C35-9DF5-714B-96B9-8BD3FA7D41E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EA545D1-32E2-9642-80B9-4802AFC3189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241095CC-BB37-4140-AEDC-D7BA82E384E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46952689-3042-8145-B6FD-FDEC427B897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524C1871-396A-374E-980F-84FE3F7235D5}"/>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103" name="Прямоугольник 102">
            <a:extLst>
              <a:ext uri="{FF2B5EF4-FFF2-40B4-BE49-F238E27FC236}">
                <a16:creationId xmlns:a16="http://schemas.microsoft.com/office/drawing/2014/main" id="{0BF70237-463B-5D42-9019-E76CF12EDB6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4BA032B-6CE2-A447-AE92-58F24F3BBA99}"/>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33253CB4-F2CF-AA47-A33F-F44B13D0F95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3E521EA4-18CB-074D-8443-BD464BFFA23D}"/>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AF62C9D-E3B9-4348-861C-E0B50BF537F3}"/>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E6EDD20-3194-204B-AFD6-9F2E770E2C5E}"/>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35EF0D8-D28B-2F4B-8606-05C774033EF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7D5C3F6F-C897-C741-8F9C-6A9CAA3BBAC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4233A461-53D4-CE41-B251-21CBD19D13A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7C62A594-4746-F645-9A18-50BA4C1CDD7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766E0F2-0B94-D746-B79B-3FC4654A92C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A7D139B0-FFF9-1248-B19D-E55DD08B3AD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0" name="Прямоугольник 179">
            <a:extLst>
              <a:ext uri="{FF2B5EF4-FFF2-40B4-BE49-F238E27FC236}">
                <a16:creationId xmlns:a16="http://schemas.microsoft.com/office/drawing/2014/main" id="{A615C458-A4CD-0E42-B2DD-12C2369304AC}"/>
              </a:ext>
            </a:extLst>
          </p:cNvPr>
          <p:cNvSpPr/>
          <p:nvPr userDrawn="1"/>
        </p:nvSpPr>
        <p:spPr>
          <a:xfrm>
            <a:off x="0" y="140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1" name="TextBox 180">
            <a:extLst>
              <a:ext uri="{FF2B5EF4-FFF2-40B4-BE49-F238E27FC236}">
                <a16:creationId xmlns:a16="http://schemas.microsoft.com/office/drawing/2014/main" id="{EDCBED69-FADA-404F-9F68-7556C2E9EB70}"/>
              </a:ext>
            </a:extLst>
          </p:cNvPr>
          <p:cNvSpPr txBox="1"/>
          <p:nvPr userDrawn="1"/>
        </p:nvSpPr>
        <p:spPr>
          <a:xfrm>
            <a:off x="604489" y="15045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182" name="Рисунок 181">
            <a:extLst>
              <a:ext uri="{FF2B5EF4-FFF2-40B4-BE49-F238E27FC236}">
                <a16:creationId xmlns:a16="http://schemas.microsoft.com/office/drawing/2014/main" id="{B8010064-2EC8-8C4A-BFA6-5D1749681A8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476000"/>
            <a:ext cx="288000" cy="288000"/>
          </a:xfrm>
          <a:prstGeom prst="rect">
            <a:avLst/>
          </a:prstGeom>
        </p:spPr>
      </p:pic>
      <p:sp>
        <p:nvSpPr>
          <p:cNvPr id="53" name="Прямоугольник 52">
            <a:extLst>
              <a:ext uri="{FF2B5EF4-FFF2-40B4-BE49-F238E27FC236}">
                <a16:creationId xmlns:a16="http://schemas.microsoft.com/office/drawing/2014/main" id="{338763F2-7232-9949-8015-2EA3D3DF23EE}"/>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7C1A55B1-14CA-224B-AFA8-F5B7395D9FD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770145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_Портфельный риск-менеджмент">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73E1E39B-1814-8147-9752-F1FE09CD76A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59A6F886-2BEF-B44B-A03F-A462C1C5D914}"/>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F0D8B3B3-4D60-EC43-97F3-28037DE4CEBE}"/>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E571792-41BE-044E-A382-58BF1131574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9501F2AD-2F64-C348-AC4D-361CA45A4F9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54685BD-9540-3049-87BB-AB628EE6C69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B8DA9FC-8867-C64D-B28B-688F516DE88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9075473-F00A-FF42-B0C0-45862F7097D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6BF8BFF8-9986-BE4C-A231-D8A3CA679EF2}"/>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D1C033A7-8A30-704B-A65F-A568397268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6869E661-3207-6F43-A317-C35107195BF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185D85F9-4991-4D45-9BEF-35AF3B113B01}"/>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711F24C-721B-6E4E-8017-877B24D3F8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4D1E3E9-74AB-6A49-8069-38515D5FCFE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7610C761-9C2A-C14F-8C1E-2C2EC9CCB27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F1C418CF-E54B-894E-9364-5EAF041BE069}"/>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4" name="Прямоугольник 73">
            <a:extLst>
              <a:ext uri="{FF2B5EF4-FFF2-40B4-BE49-F238E27FC236}">
                <a16:creationId xmlns:a16="http://schemas.microsoft.com/office/drawing/2014/main" id="{A47472AD-F631-0144-8534-5C2830DACDA9}"/>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0CA46DF-2246-3145-962D-2628F60DA53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5E078F42-0017-8B45-BCC0-DD8E369F881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36E9A61B-B187-A14D-A693-78F7E2EB39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9D67A45-79CC-D749-9964-C4D551F6B394}"/>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30C183C9-FAE9-F34A-B80C-8818DA5C9EF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9DD89A2C-3F8A-7D4F-825F-8C578F62AD9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620E374E-CBBE-1846-8AA7-498BF4F52ED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92838A78-C6F2-4D4D-8400-2E19C0A26E3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1D9C07CD-2B19-1B4D-BFFA-0B10AE0E72F7}"/>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2BFBB58-C2B2-5D46-84C0-028DFBFA9B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1D26728-1112-9449-81D9-BBFD8D69B13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9D60F62-6CF6-B546-9629-9F4F733156BF}"/>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70D6A0F0-7206-3E4A-86D5-BD616B54C5FD}"/>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6DA6343-0DC7-5D4A-AB7F-1C518D92623C}"/>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9225957-E776-AC42-A99C-708454306C0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81D014D7-04E5-E445-96B3-09DD9D2E7EFD}"/>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8B5AD4A3-1F8B-AE4B-A31B-5A8C1EE8830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FB000EB-6D46-AF4F-9536-1A21846F805C}"/>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515A4E5F-AF81-E84C-8E74-EF8FFBFB166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57D5B978-0ED8-3748-994A-D1F7369AF9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0983BB8-1A88-084D-9589-21D03DC769E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41A5CB8-70EF-694C-A175-E5B1A81D4E11}"/>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A3ADB7C-35FF-B94B-95AD-BEE6D409E2A3}"/>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2" name="Прямоугольник 111">
            <a:extLst>
              <a:ext uri="{FF2B5EF4-FFF2-40B4-BE49-F238E27FC236}">
                <a16:creationId xmlns:a16="http://schemas.microsoft.com/office/drawing/2014/main" id="{97E4D32C-767C-DB4E-8167-0DF2BCD81FDF}"/>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5A099F52-94B5-E64D-AAB9-50E0A6CA01E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46F635AD-D716-8C48-9D78-83E26C165F12}"/>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D7434F03-FCED-0949-8985-C24ACEDB9C69}"/>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FB97586-DF4B-A646-B2FE-30050AC45513}"/>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40A3E7E-4857-3248-9BF6-397BC210D6D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8" name="Прямоугольник 127">
            <a:extLst>
              <a:ext uri="{FF2B5EF4-FFF2-40B4-BE49-F238E27FC236}">
                <a16:creationId xmlns:a16="http://schemas.microsoft.com/office/drawing/2014/main" id="{9B2F3EEE-F99F-5041-B9CA-29B70B786862}"/>
              </a:ext>
            </a:extLst>
          </p:cNvPr>
          <p:cNvSpPr/>
          <p:nvPr userDrawn="1"/>
        </p:nvSpPr>
        <p:spPr>
          <a:xfrm>
            <a:off x="0" y="183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82411F23-258C-AC49-9F1B-12CA96E37D44}"/>
              </a:ext>
            </a:extLst>
          </p:cNvPr>
          <p:cNvSpPr txBox="1"/>
          <p:nvPr userDrawn="1"/>
        </p:nvSpPr>
        <p:spPr>
          <a:xfrm>
            <a:off x="604489" y="18673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130" name="Рисунок 129">
            <a:extLst>
              <a:ext uri="{FF2B5EF4-FFF2-40B4-BE49-F238E27FC236}">
                <a16:creationId xmlns:a16="http://schemas.microsoft.com/office/drawing/2014/main" id="{0F7A0598-4D09-C449-AB3C-83E51EDA78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1908000"/>
            <a:ext cx="288000" cy="288000"/>
          </a:xfrm>
          <a:prstGeom prst="rect">
            <a:avLst/>
          </a:prstGeom>
        </p:spPr>
      </p:pic>
      <p:sp>
        <p:nvSpPr>
          <p:cNvPr id="53" name="Прямоугольник 52">
            <a:extLst>
              <a:ext uri="{FF2B5EF4-FFF2-40B4-BE49-F238E27FC236}">
                <a16:creationId xmlns:a16="http://schemas.microsoft.com/office/drawing/2014/main" id="{DFCB072C-B873-F54E-9C99-0E5D7FA1CEF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A5EE6B1-40FB-424E-A773-1078BBF93B8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4958008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5_Страновой, залоги, групповая методолог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807C4EF-6726-D84F-B42D-20B02D62A82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A9C5A4E-FDDF-2147-84D1-B4F34142A8A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3ED4D20-E30A-2C47-83A6-1D299E95BD30}"/>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5889E63-13E4-8740-BA96-1233984F021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E531D1F-D312-4942-9B08-86823E3BABAC}"/>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0FF116-3347-B847-BAE1-E870BC16F47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6ADCA98F-A92D-C041-9768-7175B0664835}"/>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9B76353-335B-644C-B349-BDD784081C3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2875D3-4536-8F4D-AFA6-3E75FF2BC32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CC157F77-3FDE-8C46-81D9-1C85BB2847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C2EAB52D-FA92-2146-AACC-F4178B8044B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C755012-9877-5D46-BFC9-E37D6AB777F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57E7F78-AD10-8942-870D-EAF936469CF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71" name="Прямоугольник 70">
            <a:extLst>
              <a:ext uri="{FF2B5EF4-FFF2-40B4-BE49-F238E27FC236}">
                <a16:creationId xmlns:a16="http://schemas.microsoft.com/office/drawing/2014/main" id="{7CC65114-C1C7-4C49-A9DE-BA11BDEFC3F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1167BA-5B39-5F44-95BA-DB2F164846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839270E-D05B-0B4C-B4DA-B51E730F282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CB4499D8-9F0C-924A-9BBB-F8C7E10879E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86D06AB7-7B0F-6140-857E-6AE1F2B6E266}"/>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5AC044-542C-344B-9C4E-D6B2D3BAF3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B07AE368-14DA-F648-B727-E7336B987AD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B90E303-582F-DF4A-AA51-E086249454D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C239B0E-82F7-5B4F-A96A-95B7931825E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F7447F37-EC02-6C41-A7F8-E6B1324ED5C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75A561D9-FDE5-C342-B3D4-0CF005DE0379}"/>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55994C36-45D8-8C48-B4B7-C7E711AEDC5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FCAC4E3E-C51B-9245-8A53-CCD3C1691991}"/>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56C6830-9754-844E-8DA9-75EA162BD3A2}"/>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064EC08-0EFB-394B-845A-CDD2CE56FF0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7D3E9C06-31F6-FE49-88A2-1CDF04F8CFB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4E495A5-6C72-9343-94F7-5FD4F82C82E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EFF2823-1084-1846-9142-D3F96F571D4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B3321CC-62E2-0A48-9221-EEFCF7FC890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1EBD213D-AAFE-D44B-9ADC-DDB97BC46C1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FC68E0D-843D-9F45-8B53-AA7A58FBEDAA}"/>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58D3FED-EEFA-8B4B-AA83-918E1E6EACCD}"/>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422B1D2E-ED14-2B44-916C-5F934303C462}"/>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240DCBE2-7E1E-C94F-A6EB-D565A6B99F8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F961D5C-3510-1448-A5D3-F54FADA3B83C}"/>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EF5AE1FC-8862-4742-B5A7-B2CA5D6FE50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DD377A89-5905-3E4F-AA0C-51235F051B5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28E62A3A-B582-FE4A-B332-B0C1E0B35A9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26E88F79-85E0-684C-9A93-C876630E907D}"/>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1B3ACC01-0544-5B4E-A9F7-462F2A48C60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C16F8D47-98CC-F847-ABE4-52F5440AC7CD}"/>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91DDF903-073D-8F4F-AAA4-0B28F740CAB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BABDBF7D-1605-AE40-AA7B-D1EFDC6C2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5" name="Прямоугольник 124">
            <a:extLst>
              <a:ext uri="{FF2B5EF4-FFF2-40B4-BE49-F238E27FC236}">
                <a16:creationId xmlns:a16="http://schemas.microsoft.com/office/drawing/2014/main" id="{E8BEAED8-BCD2-EC4C-AD15-EB2C0CDC3E41}"/>
              </a:ext>
            </a:extLst>
          </p:cNvPr>
          <p:cNvSpPr/>
          <p:nvPr userDrawn="1"/>
        </p:nvSpPr>
        <p:spPr>
          <a:xfrm>
            <a:off x="0" y="226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30D5BC70-966F-DF44-8B84-F7CE302A04AA}"/>
              </a:ext>
            </a:extLst>
          </p:cNvPr>
          <p:cNvSpPr txBox="1"/>
          <p:nvPr userDrawn="1"/>
        </p:nvSpPr>
        <p:spPr>
          <a:xfrm>
            <a:off x="604489" y="22993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27" name="Рисунок 126">
            <a:extLst>
              <a:ext uri="{FF2B5EF4-FFF2-40B4-BE49-F238E27FC236}">
                <a16:creationId xmlns:a16="http://schemas.microsoft.com/office/drawing/2014/main" id="{A836928C-161D-3547-B2CC-1413B4340F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2340000"/>
            <a:ext cx="288000" cy="288000"/>
          </a:xfrm>
          <a:prstGeom prst="rect">
            <a:avLst/>
          </a:prstGeom>
        </p:spPr>
      </p:pic>
      <p:sp>
        <p:nvSpPr>
          <p:cNvPr id="53" name="Прямоугольник 52">
            <a:extLst>
              <a:ext uri="{FF2B5EF4-FFF2-40B4-BE49-F238E27FC236}">
                <a16:creationId xmlns:a16="http://schemas.microsoft.com/office/drawing/2014/main" id="{9A9F3B59-68A4-544B-BF50-9B53FF713F2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145BFD92-0CCC-2548-B93F-9662405F6A1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8194644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6_RD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31705CD-5D0D-7A4C-AB46-2243AE0560D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4ECA7A3-B03F-5941-9662-A1CFDEAF9B58}"/>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D471E5CA-35F9-EA46-9D8E-E098CBA0CB1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E15C263-324D-2D4F-803D-7D09AE54169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CA8CEA2-B50B-E74F-9F40-EDFC0D3A035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AF9C2CDA-09E4-8644-9F9C-8B1B1BD47C9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778F962-DBBE-FE4E-BF2B-755875EA8262}"/>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1DC37E6-EE61-B34B-B3EA-4BA8EF0F8F6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476D5459-A01B-7B43-8DF4-C23D8A497ED8}"/>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0757B9F-EA84-A14B-9EE1-80D7F3A806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8" name="Прямоугольник 67">
            <a:extLst>
              <a:ext uri="{FF2B5EF4-FFF2-40B4-BE49-F238E27FC236}">
                <a16:creationId xmlns:a16="http://schemas.microsoft.com/office/drawing/2014/main" id="{D3F20275-0E71-664A-A6FC-2FB58EB1771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DF998A21-899E-A943-BE5D-96CED6B1FD1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3932A2EB-D54F-D941-8E12-3035CA74FE3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8B8D5288-4388-194A-8BD5-24B1B2CDFC5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7AB0A61-548F-9A4D-B91C-BE34EF7EAEE7}"/>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EA178B8-F46E-E745-B636-957DA4E989C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575B87F-5B79-FB46-AD18-DD367AB7763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25337AFB-204B-D149-87F4-53C5DBD90A5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275692-C073-5040-B2CA-4EA5287ED72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53A7ECE-DEDE-BF4F-AA8D-E64B10F0F126}"/>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68D1F76-7C68-3E4C-81F5-FD85BD0893F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3F45673-C16A-C645-8938-C10E36A6B4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CB9BB49-388F-5A4D-AFB4-1BA6CB11CD3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ED72030C-7730-264E-8EDB-CDBB4776AF20}"/>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A6559E0E-D093-2740-97D2-914A9CF924F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7429F954-5476-1F49-B2F4-7B63C9AE080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4E933976-FA65-0F4F-92E4-F0180A0A9DA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FB117D1-659B-4645-B7C3-4A9B825ADBC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3E7A7033-207E-CA48-BD71-4BE6CEF1B4C9}"/>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F6487A2-2972-E847-BE73-050BC5BAFC58}"/>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C358E523-0036-064C-8EC5-9AB4437B7CF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50D433A-4477-AD44-B60A-088010CD1F3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52EE9C38-33B1-FF48-83E0-64B88E5C9E3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1B8CCF4D-5DF3-834C-89AB-786C4A53AB2E}"/>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0CDDA1D0-D26D-B14E-BFD8-B59FCAF6FC62}"/>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637DAA0-9116-2744-96BD-75117EF2482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A8C6FCB2-989A-E04F-BBAB-79EA813436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6031055C-5649-9448-9F7F-A20EE252D10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C00EEA30-24AD-2441-B5DA-394AABBD799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7CFFECB-4B79-5046-A5DC-C628D4B5C87D}"/>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A4B72CD-BDC3-704B-9979-895C86EC8121}"/>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DD4E8B20-6FCD-E84A-B608-F434E5959C6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B8918800-96B1-294E-8BBC-078DF784A6A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2178BD51-1247-8548-810F-034F5A0AE99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4EEC7D48-6B50-834B-B973-9A917AD49181}"/>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0DB427EC-AAF6-A74D-8E23-02197E5F369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1" name="Прямоугольник 120">
            <a:extLst>
              <a:ext uri="{FF2B5EF4-FFF2-40B4-BE49-F238E27FC236}">
                <a16:creationId xmlns:a16="http://schemas.microsoft.com/office/drawing/2014/main" id="{76B9DF58-897B-9746-8239-36E5B9079C4A}"/>
              </a:ext>
            </a:extLst>
          </p:cNvPr>
          <p:cNvSpPr/>
          <p:nvPr userDrawn="1"/>
        </p:nvSpPr>
        <p:spPr>
          <a:xfrm>
            <a:off x="0" y="270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2" name="TextBox 121">
            <a:extLst>
              <a:ext uri="{FF2B5EF4-FFF2-40B4-BE49-F238E27FC236}">
                <a16:creationId xmlns:a16="http://schemas.microsoft.com/office/drawing/2014/main" id="{86312993-8EBF-4049-9E9B-1367AC493F3E}"/>
              </a:ext>
            </a:extLst>
          </p:cNvPr>
          <p:cNvSpPr txBox="1"/>
          <p:nvPr userDrawn="1"/>
        </p:nvSpPr>
        <p:spPr>
          <a:xfrm>
            <a:off x="604489" y="28005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24" name="Рисунок 123">
            <a:extLst>
              <a:ext uri="{FF2B5EF4-FFF2-40B4-BE49-F238E27FC236}">
                <a16:creationId xmlns:a16="http://schemas.microsoft.com/office/drawing/2014/main" id="{3EDFE196-BDED-3141-9409-E027BA1D8876}"/>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2772000"/>
            <a:ext cx="288000" cy="288000"/>
          </a:xfrm>
          <a:prstGeom prst="rect">
            <a:avLst/>
          </a:prstGeom>
        </p:spPr>
      </p:pic>
      <p:sp>
        <p:nvSpPr>
          <p:cNvPr id="53" name="Прямоугольник 52">
            <a:extLst>
              <a:ext uri="{FF2B5EF4-FFF2-40B4-BE49-F238E27FC236}">
                <a16:creationId xmlns:a16="http://schemas.microsoft.com/office/drawing/2014/main" id="{4021FC77-B251-3E42-BA6C-F1994A1FB0A5}"/>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CD09D0B-D2C5-2641-8FEE-56732EEF3148}"/>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14" name="Рисунок 13"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pic>
        <p:nvPicPr>
          <p:cNvPr id="15" name="Рисунок 14"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6356066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7_RM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99BA92D-4ABE-4E4A-BB8B-D824CF0755F8}"/>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2534959-7665-9549-891B-D8754FD4A5F3}"/>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35848C8C-DAE5-E94B-B0F3-CEA4D805FCD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897D154F-1AEE-834D-B0A2-248344F7C9C2}"/>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328A1084-B5D7-9B4D-B50A-E6B3A731960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9FB6A1-7179-FE4F-B74B-774E3649A8C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EA81CB6B-DE7C-1041-8C60-F4AC01D1495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5" name="Прямоугольник 64">
            <a:extLst>
              <a:ext uri="{FF2B5EF4-FFF2-40B4-BE49-F238E27FC236}">
                <a16:creationId xmlns:a16="http://schemas.microsoft.com/office/drawing/2014/main" id="{0BBC7E69-F409-864B-B9E4-EF819D25771E}"/>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C87237E-293E-2240-875F-3255CBF7F35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6A69FC9-CE77-DB44-A7E4-89CD403C01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F23D643-A8CA-274F-8ABB-810E3C80143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68DADCE-137C-5646-BBDA-8A150E44C90B}"/>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4DFC0C1-8940-B04C-B95A-83CBFC2F583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EAE2FE64-2AD6-8448-B1A0-749FA20458D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56FF69D4-F550-6444-9997-638AC0B27B1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EB1FFFE-365D-F642-A899-23C9326D53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4F4C5236-EF18-DF44-9925-BB4A166D6E2B}"/>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CF5706A9-78A1-9144-82AF-F2B34C2EBF88}"/>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0921371-6842-8147-8CDE-6190BF028B4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070B045-5359-494D-9AA1-019C2F108A8F}"/>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8156FBA-26A9-A945-9CD6-2D9AA26FB5DE}"/>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10A75F89-2361-3149-BC0E-FF2DA4B418E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400E5F07-8B12-D94C-97AF-FC8F1C3E19F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F8F7826A-66F5-3944-AAD4-A76E1CCCD7B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DB73DA07-D8CE-1149-9E02-A823DFD0023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DD222B-9019-BE47-BADB-4652BC1F1EC6}"/>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9717A874-B1DF-7D43-A756-10B0FF45818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229E5EC-2DCC-4A4E-81C2-E0E0288A46B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F8D99E8-67F2-9943-A339-73168B5BD34A}"/>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18F9CCA-8F6C-374F-B930-47082FBC03B1}"/>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B92972C-1EFD-B240-8D1D-BD9B44EADB0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CC764F7C-71CC-BC49-9FFD-2BC274F3B44D}"/>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AA2E1947-0D2B-1749-88C7-EFE60CF9E81E}"/>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928D337-074F-4744-A2F9-33C66AA4405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BF20818A-9327-B045-8D81-B23A2CE76A46}"/>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1437CB49-0ECC-F04B-B662-9A0B986AF4B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F31EBA68-E793-7B4F-AB27-AE7F1F1035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96BD6286-0548-AF4C-ADEA-5075359C1399}"/>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D3F6EC01-24CB-BB45-ABDB-BCB7BA5D378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66BDD3D-3D9F-984E-88BF-9B727A8DF018}"/>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DE8615D2-9B07-724F-8E94-7E6BC6C98D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0674BE85-84DB-0D43-8E74-22D3F289206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E76F844F-5564-1345-8981-A242F2973E0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DB9C625A-E503-9E4A-AB43-2EF34F6D846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5" name="TextBox 114">
            <a:extLst>
              <a:ext uri="{FF2B5EF4-FFF2-40B4-BE49-F238E27FC236}">
                <a16:creationId xmlns:a16="http://schemas.microsoft.com/office/drawing/2014/main" id="{0687BB7F-1DA5-3E41-902D-693CFA51B67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E525C3D-EBBD-1441-86AA-EB024CEC95E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18" name="Прямоугольник 117">
            <a:extLst>
              <a:ext uri="{FF2B5EF4-FFF2-40B4-BE49-F238E27FC236}">
                <a16:creationId xmlns:a16="http://schemas.microsoft.com/office/drawing/2014/main" id="{6EE78AE9-3780-FC47-A744-2B9C9AFA3089}"/>
              </a:ext>
            </a:extLst>
          </p:cNvPr>
          <p:cNvSpPr/>
          <p:nvPr userDrawn="1"/>
        </p:nvSpPr>
        <p:spPr>
          <a:xfrm>
            <a:off x="0" y="313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9" name="TextBox 118">
            <a:extLst>
              <a:ext uri="{FF2B5EF4-FFF2-40B4-BE49-F238E27FC236}">
                <a16:creationId xmlns:a16="http://schemas.microsoft.com/office/drawing/2014/main" id="{AD09A97B-2BE3-FE42-8498-EF01D31587D3}"/>
              </a:ext>
            </a:extLst>
          </p:cNvPr>
          <p:cNvSpPr txBox="1"/>
          <p:nvPr userDrawn="1"/>
        </p:nvSpPr>
        <p:spPr>
          <a:xfrm>
            <a:off x="604489" y="32325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20" name="Рисунок 119">
            <a:extLst>
              <a:ext uri="{FF2B5EF4-FFF2-40B4-BE49-F238E27FC236}">
                <a16:creationId xmlns:a16="http://schemas.microsoft.com/office/drawing/2014/main" id="{CE46A9A9-290E-BC42-9307-3B40C5B3FCC4}"/>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204000"/>
            <a:ext cx="288000" cy="288000"/>
          </a:xfrm>
          <a:prstGeom prst="rect">
            <a:avLst/>
          </a:prstGeom>
        </p:spPr>
      </p:pic>
      <p:sp>
        <p:nvSpPr>
          <p:cNvPr id="53" name="Прямоугольник 52">
            <a:extLst>
              <a:ext uri="{FF2B5EF4-FFF2-40B4-BE49-F238E27FC236}">
                <a16:creationId xmlns:a16="http://schemas.microsoft.com/office/drawing/2014/main" id="{266067B0-98C7-0C40-9B68-5FEF8CF4E4A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EDD57E6-3614-B643-A15B-C2B609709B6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691260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9_Риски банковской книг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1B071F3-E6B3-AD47-BAE4-1BBEB00D4A46}"/>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298FE323-8D2D-3D48-8036-B820C5702469}"/>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59C9967D-7B7B-CE42-9677-15C45E0B7E51}"/>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EB9AA03-C67F-4C49-A467-C7350AE70F6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E9F901A4-D06C-5B49-A7D5-11912476F43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5E3E25-54AA-0946-9006-A5F0DB72EDC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DF0DAF-A7A0-9548-9A69-55ACB13BED6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DAF813C-049E-7C4E-BA9C-3BA22F220F90}"/>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F645EB29-CF73-6F40-8C31-8ED18C2A5DF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5ECE37BF-330B-7843-8F9E-4A439DE2F5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3EC034A-EE51-F840-8DAB-31295FFBB307}"/>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F859796-A85A-2C4C-8787-6B4BC22904F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2F73188-F50B-3B4D-A474-49B427F981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908FF4-6CF8-7140-A39D-EE986E311588}"/>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54DFC96C-407F-6B46-8B7B-612D03252815}"/>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787A5A7-6B17-0D41-88C9-ECBED0EFD8C1}"/>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FC2D9986-7196-6F4A-94E5-08ACDF49AC3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E8AEDD7-63D2-944F-9693-6984D9E67FB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5635579-B3E2-E84A-8813-C38A647401AA}"/>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E8A4140-4E20-0F4B-86D3-BF98DC0322C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6C20C6E-CE21-544D-AC18-02C272A1CB8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525EA5B-BA25-8C4E-8381-39D1B672F0C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80" name="Прямоугольник 79">
            <a:extLst>
              <a:ext uri="{FF2B5EF4-FFF2-40B4-BE49-F238E27FC236}">
                <a16:creationId xmlns:a16="http://schemas.microsoft.com/office/drawing/2014/main" id="{269F2883-6620-A04F-B070-B3E3F2B5368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DCB1731-C13F-044B-BC0A-FC73796641A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FA685393-470B-E243-AC88-A89359FE2E6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D012497-03A2-FA4D-AC60-F34CAC9A83F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0BE37FC-D144-F845-BAEF-F17E2DB59E1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9E12506-A0D4-DD4F-80BB-36E2056F79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6EDA0061-54E4-6147-9FAD-70B1F14DF0E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632DC11B-85E8-D346-B0E3-F490FE2499FA}"/>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1E07DEB1-4527-5A49-9127-4F8EB6658E66}"/>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7CC83E88-7784-524D-8522-22CEAFA0A23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5CA7542D-6FEA-0341-874B-50898F2B300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D2798E8-1A91-1E42-9B4D-8F35FF4D986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3230ED5-8618-434F-A316-9A6AB636D05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6EB954CB-4F05-D440-8BD0-5939F7C996D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439925EA-EA35-8D4F-9404-3D09E9F44B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8293CB9F-6534-D04B-8F89-385009CF4941}"/>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6DB5FFA6-B31E-A64A-BD4F-574F388CF8B0}"/>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CB95C2AE-4550-4C4B-89CD-4FE06835C10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C9B623ED-4908-EE48-86D7-F15BAB8A986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9303BDFE-F0E4-9544-B95B-1A177FB903E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4A49ABF8-3FD3-684A-84DE-33B5A5E8CD5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A1EA0194-D586-EC4F-B7B7-849E4E4018C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B9E07F0B-4DE8-E04E-B243-5D80B447F014}"/>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8ED6556-3035-FF4F-903B-C7FF124ABC9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6" name="Прямоугольник 135">
            <a:extLst>
              <a:ext uri="{FF2B5EF4-FFF2-40B4-BE49-F238E27FC236}">
                <a16:creationId xmlns:a16="http://schemas.microsoft.com/office/drawing/2014/main" id="{D8B42A99-9082-7442-A2A4-B0776AB9F6BE}"/>
              </a:ext>
            </a:extLst>
          </p:cNvPr>
          <p:cNvSpPr/>
          <p:nvPr userDrawn="1"/>
        </p:nvSpPr>
        <p:spPr>
          <a:xfrm>
            <a:off x="0" y="356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7" name="TextBox 136">
            <a:extLst>
              <a:ext uri="{FF2B5EF4-FFF2-40B4-BE49-F238E27FC236}">
                <a16:creationId xmlns:a16="http://schemas.microsoft.com/office/drawing/2014/main" id="{AD0AD8B4-7729-A34A-A1C4-DD9CD2637F9D}"/>
              </a:ext>
            </a:extLst>
          </p:cNvPr>
          <p:cNvSpPr txBox="1"/>
          <p:nvPr userDrawn="1"/>
        </p:nvSpPr>
        <p:spPr>
          <a:xfrm>
            <a:off x="604489" y="36645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139" name="Рисунок 138">
            <a:extLst>
              <a:ext uri="{FF2B5EF4-FFF2-40B4-BE49-F238E27FC236}">
                <a16:creationId xmlns:a16="http://schemas.microsoft.com/office/drawing/2014/main" id="{0351012D-5C43-AD41-A3DB-78D00F665180}"/>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636000"/>
            <a:ext cx="288000" cy="288000"/>
          </a:xfrm>
          <a:prstGeom prst="rect">
            <a:avLst/>
          </a:prstGeom>
        </p:spPr>
      </p:pic>
      <p:sp>
        <p:nvSpPr>
          <p:cNvPr id="53" name="Прямоугольник 52">
            <a:extLst>
              <a:ext uri="{FF2B5EF4-FFF2-40B4-BE49-F238E27FC236}">
                <a16:creationId xmlns:a16="http://schemas.microsoft.com/office/drawing/2014/main" id="{6E0E23FB-CF49-1043-A060-4E08E0B12E5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CF70038F-96A2-4948-9780-9AA95367092E}"/>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6639112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0_Операционный 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E9C31441-7FC4-4A4B-AE01-2068FD2A6E7E}"/>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CE1108E-E08F-6D49-9964-3B0F7493C2A1}"/>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8142E925-CA77-B544-BD9A-E1C6BB14A14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E9EC314D-D616-5242-AE09-6D30F714ED1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DA2D573-1833-D74D-B1E0-341F0AB846C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A24519-AA85-1C4D-AE4C-C4B08A73D29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A3DAB09-6C2F-0746-8876-F91EDC660B1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AE2A4EA-E8EB-9348-A94C-3E2E9229798C}"/>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DB5A8C7F-612B-1C48-90BF-49AA6C5EB3D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682C48FB-794F-B347-8066-A14B56E96BD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8393DD1D-E51D-574D-A6EF-3ACB8EB3B8C5}"/>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ACA933D7-44B0-4346-834C-21749BBF9E1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2FBF4CE-A550-0A4C-933D-28D6FAA54D3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03CF636-4B75-7E41-8078-D84C0763D1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26344617-29E4-8E43-9D91-FA352AC6BAA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9E74D18B-7351-FF4A-928E-3BB108009CF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B864E8E-E913-C245-AE55-6D29E2ECD82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189EB07B-8D96-A04C-853B-BF94A15BF7F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59D71A1-692C-854D-AB6F-E9AB3C0E79CD}"/>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F74DE3F5-588D-3B47-9673-90E75D55A6C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6F93427-5A6D-514A-BB06-5D3D0AB404E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B3E49339-BD5C-284F-8969-79024C6F77F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B8D2CC8-FA76-FE42-B334-0430A7292D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58EE1E99-AE7D-344E-BBEB-974669F2E605}"/>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E8FA1EC-C60B-1B47-96EA-BCE7E03BBB5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3" name="Прямоугольник 82">
            <a:extLst>
              <a:ext uri="{FF2B5EF4-FFF2-40B4-BE49-F238E27FC236}">
                <a16:creationId xmlns:a16="http://schemas.microsoft.com/office/drawing/2014/main" id="{9E8653EA-46BE-5C4B-8CD7-497306B2A12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88AF99F8-430E-7A43-9791-9E06C324FD64}"/>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088FF95-C4CC-6E4C-89DC-E78C0C6C494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F8288506-A838-5749-80F0-6D577AFE289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C7182FB-A685-8448-B0C1-C6B991C7DA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4B82E4B4-06F8-EC4F-B91B-A3EF5A45DD7F}"/>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BED6FCD-AED3-7347-BAC8-7D7E331CF0D8}"/>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B608CB1-BD58-F349-9A4D-353BB4852B7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0AF5F82-FAB8-624F-B094-54898C888D4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4D1CBA8-BA60-C44C-9E84-87BF102D5A7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DB0AD7E1-43EA-4642-9A0A-8F7230BE6EE4}"/>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C231BD2E-5D40-E14A-BFB5-BBF169E22C8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0DD66B27-C38C-9C40-89D3-8758745FB38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BFC4597-AEB9-B843-88D6-C28DC570D5A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24F228E7-7490-A949-B3CD-587E93BC5C8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D0F91B22-2C86-2245-B463-396CF9BA9F8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5556E0B-E6CA-AB45-939A-FA68DDE0339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274CDDEE-AF1D-264F-8DFF-43651BACFEB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2337D8-3D1E-1C4D-8AF1-9D9CC533ED7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C742A40-08FD-544E-9D77-034AA3C66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2BE3565-03C2-B743-97E6-79420425830E}"/>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7" name="Прямоугольник 156">
            <a:extLst>
              <a:ext uri="{FF2B5EF4-FFF2-40B4-BE49-F238E27FC236}">
                <a16:creationId xmlns:a16="http://schemas.microsoft.com/office/drawing/2014/main" id="{6B17A399-05CC-B345-B826-6997E367192F}"/>
              </a:ext>
            </a:extLst>
          </p:cNvPr>
          <p:cNvSpPr/>
          <p:nvPr userDrawn="1"/>
        </p:nvSpPr>
        <p:spPr>
          <a:xfrm>
            <a:off x="0" y="399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99660414-4303-B54D-A661-2504F446609B}"/>
              </a:ext>
            </a:extLst>
          </p:cNvPr>
          <p:cNvSpPr txBox="1"/>
          <p:nvPr userDrawn="1"/>
        </p:nvSpPr>
        <p:spPr>
          <a:xfrm>
            <a:off x="604489" y="40965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167" name="Рисунок 166">
            <a:extLst>
              <a:ext uri="{FF2B5EF4-FFF2-40B4-BE49-F238E27FC236}">
                <a16:creationId xmlns:a16="http://schemas.microsoft.com/office/drawing/2014/main" id="{B4BD463B-56FD-034E-9BEF-13D9992666D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068000"/>
            <a:ext cx="288000" cy="288000"/>
          </a:xfrm>
          <a:prstGeom prst="rect">
            <a:avLst/>
          </a:prstGeom>
        </p:spPr>
      </p:pic>
      <p:sp>
        <p:nvSpPr>
          <p:cNvPr id="53" name="Прямоугольник 52">
            <a:extLst>
              <a:ext uri="{FF2B5EF4-FFF2-40B4-BE49-F238E27FC236}">
                <a16:creationId xmlns:a16="http://schemas.microsoft.com/office/drawing/2014/main" id="{AEA645F3-476C-BF45-88FF-38737F83D39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899A8571-728B-6F4E-8C6A-B780FEBB36F2}"/>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3577170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1_Техно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06A5973-E1FB-6343-B2A2-9B3904BF53A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783C100-F621-8448-98BD-5341ADDE5A5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4314CFC-57E4-4246-9985-B70F31865B0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5ACD35C-BFE5-3045-882F-4621C05CC5B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88ACBE3-625F-024E-9F3F-5C538608A190}"/>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35F08ED0-6400-404C-9BC7-CD726669A5D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6BF326A-6920-0642-BD58-09D12855C5E4}"/>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3A3CE1-53AA-5B44-A0D9-15C752FBB20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4B67EC-B010-AF40-83A8-749BB371B797}"/>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F4DEA0AF-238F-5D40-93D9-F6D1E3989F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D73986E-CD06-BD4B-9B31-465154285DB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54BE9EB-78C4-4141-AA87-F04DFF1B4766}"/>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5225E38B-42E8-A04B-93FF-3701BD280E7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811E934-E170-D84B-AFFB-85A1C9694B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9725CDF-46D1-2C4E-8BC2-2580850134F3}"/>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56EC3407-22ED-584B-ABC6-03FD2A4C76A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D803334C-EC96-6D41-81AD-F5B3F3CAE47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DE3FC6E-5E00-1740-A9D4-20D7E031F00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ABBFE6B-8903-3543-A03A-97123655F653}"/>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7" name="Прямоугольник 76">
            <a:extLst>
              <a:ext uri="{FF2B5EF4-FFF2-40B4-BE49-F238E27FC236}">
                <a16:creationId xmlns:a16="http://schemas.microsoft.com/office/drawing/2014/main" id="{DAF8D8B7-D595-A441-8800-9AC0A107C34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25A1654-BE40-2F46-A578-B38DA54B05D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1C1DF63-9D29-4148-84DD-276A978038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E80A66D1-FF98-EA41-A4DA-8C1FCE9969E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B851A89-FE61-3941-95CF-79C4B0E2C39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0E9E1BC3-F18C-0547-BC6F-F156910E992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B7E63ED-6809-854D-8906-30E32AAAC71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45E8007-A280-D741-84E9-202C006BCD7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7B7EDBF-3A03-064F-B466-00C5CB0EA77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5B623FB5-340A-D043-ABBF-C042885296A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92522FE4-E6A2-9549-B762-8BD9E3C1AD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3480538-E58F-B040-BA72-06E3C9D018BB}"/>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8AF3D0ED-3608-B845-89B0-E519D96B52FF}"/>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3F086E6D-9CEF-1943-8EB6-CDCAE5FD1831}"/>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87D5406-49DF-0D44-A60E-D2B1A041EFF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20454DE3-5170-BD46-84BC-F925DA91F6AA}"/>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D772069-8FAA-CF44-9637-531A4CA8619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7EF417D8-5308-DB41-80EE-42E916B88F0C}"/>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E8F3EF92-DFF3-114A-BA1C-E62268579C4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EA3D4D4C-E81E-8D4C-86CD-30EDB288119D}"/>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A727FACD-30C0-6C4C-AB05-FF6AFACFAE8A}"/>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BC3D4A6E-D280-974E-93AB-07A1AC50F33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DB48D890-2B25-2740-81DF-206167B01EE7}"/>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38B9FAFE-19BB-C54D-A53E-2772D4C39E63}"/>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E6275C-A566-494A-8983-922944CCF1D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C40314CC-CA7E-9342-9A89-128A9BD55987}"/>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6ED333C-DED5-A44B-B54B-8D1BDE37910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3" name="Прямоугольник 132">
            <a:extLst>
              <a:ext uri="{FF2B5EF4-FFF2-40B4-BE49-F238E27FC236}">
                <a16:creationId xmlns:a16="http://schemas.microsoft.com/office/drawing/2014/main" id="{8698AEE8-07F5-AD46-A1BF-207727E18E2F}"/>
              </a:ext>
            </a:extLst>
          </p:cNvPr>
          <p:cNvSpPr/>
          <p:nvPr userDrawn="1"/>
        </p:nvSpPr>
        <p:spPr>
          <a:xfrm>
            <a:off x="0" y="442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 name="TextBox 133">
            <a:extLst>
              <a:ext uri="{FF2B5EF4-FFF2-40B4-BE49-F238E27FC236}">
                <a16:creationId xmlns:a16="http://schemas.microsoft.com/office/drawing/2014/main" id="{2464FA7F-5C35-B844-9D28-BD3466BF6760}"/>
              </a:ext>
            </a:extLst>
          </p:cNvPr>
          <p:cNvSpPr txBox="1"/>
          <p:nvPr userDrawn="1"/>
        </p:nvSpPr>
        <p:spPr>
          <a:xfrm>
            <a:off x="604489" y="45285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135" name="Рисунок 134">
            <a:extLst>
              <a:ext uri="{FF2B5EF4-FFF2-40B4-BE49-F238E27FC236}">
                <a16:creationId xmlns:a16="http://schemas.microsoft.com/office/drawing/2014/main" id="{BBB5565E-948E-104F-9606-42DC805C28EA}"/>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500000"/>
            <a:ext cx="288000" cy="288000"/>
          </a:xfrm>
          <a:prstGeom prst="rect">
            <a:avLst/>
          </a:prstGeom>
        </p:spPr>
      </p:pic>
      <p:sp>
        <p:nvSpPr>
          <p:cNvPr id="53" name="Прямоугольник 52">
            <a:extLst>
              <a:ext uri="{FF2B5EF4-FFF2-40B4-BE49-F238E27FC236}">
                <a16:creationId xmlns:a16="http://schemas.microsoft.com/office/drawing/2014/main" id="{342174A1-8970-704E-AD85-5C0128E7287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90D481EC-C8E6-FC4B-9B29-8D5AB85A65E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7360100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2_Пруденциальный офис">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00F14878-52FE-C14C-B62D-1C8B104F7D17}"/>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A92D1BC-D859-EE4F-8EFD-E6F935877EE7}"/>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6867703-5CDC-7045-B3A4-92689988512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15FB74A-1322-0946-BE67-289FE6E3BF5E}"/>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699922F4-567E-2C42-ACDD-CF227D6324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C69FE4C-A692-4A46-B897-792F396A8BB0}"/>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3944FB49-B898-B54B-998D-4D1237295EF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074EECD0-60F2-D848-9D33-BD1387274114}"/>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E7F20629-0A4E-1944-A45F-E354C5F637B5}"/>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E9EEB63A-2D1B-2947-9372-8F0D5277AF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2AA23C8-EFB5-B944-932B-1707D59EFCA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9F48A4A-69A2-2E4F-A3F6-7AE740E2ACF4}"/>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8F2875DB-4C57-984C-AE3E-C5A6B1C495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2CD7F1A-5C4E-0D4B-9D64-6DA00F14177F}"/>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C090EB19-8E89-0346-8219-A7A6EBDD8A67}"/>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C9AA5DB-4ED7-4444-982F-082B209C6EB4}"/>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5B7492B3-F681-C142-ADBB-0ACEE3AF2F1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9023BB-21EF-984B-8D1A-CB659AE7EB4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BAD440AD-F090-4548-9DB3-1F451AD4F5B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576B02BE-49AB-DF4B-A91F-95AA0CF289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1CA1965D-B47A-1D47-BE90-20187E7D0785}"/>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A690137-03A6-8D4C-9E66-6F0CEBBF101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512B2A4-AEF6-BF40-83EF-75BDBAD34B6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3F5B022-42D3-E349-8EDD-E4AA4337D6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D658C24-C274-DB42-9759-0EFE513484E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B934A77C-6E45-C344-831C-A1CAC0E6FD9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F3497B0-B6C5-1F4D-9972-F2292CFFDF4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CBC08DF6-A81B-C64F-8AC9-0BCE3CA5ED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07209A4-848B-2048-94EF-A51D1AA1C2EF}"/>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73D86FF9-BBA4-954E-B9A9-7500D3BAE9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598EDA3-86DB-1546-BD7F-47527609049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9" name="Прямоугольник 88">
            <a:extLst>
              <a:ext uri="{FF2B5EF4-FFF2-40B4-BE49-F238E27FC236}">
                <a16:creationId xmlns:a16="http://schemas.microsoft.com/office/drawing/2014/main" id="{88095419-E4A8-D64D-B040-C1DF495067F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4DAAF373-634A-B947-B3E1-5CEBF04C1BD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E69148E-D662-5243-AC7A-FA4A26BE2B7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8E6F6527-41D6-5842-8A44-5ED022DCDDAF}"/>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A7636A2-37F5-CB41-81A7-B84941710A8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940D1CDE-4F3C-B749-A823-EFE7727AF51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65E8F1D7-6635-1A43-B0AB-C23B41D2210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DE0CAF8-8D5D-6747-9943-47E75104E8D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0DFC8A2B-7A95-3046-AD90-BD67427DFC1B}"/>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2DDC1DB2-1DB4-D540-8642-4377F7AD71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E37454C2-69EB-834E-BC98-61EBE73D014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6D125400-1525-BF40-99F6-9F5F1C32022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19201046-CAFC-7045-A66E-FFE9F10B8956}"/>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9F22089-BBD0-4746-A275-61D5328DEDD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113337D-7B5E-A34D-A1DC-082DDDD5DD2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77" name="Прямоугольник 176">
            <a:extLst>
              <a:ext uri="{FF2B5EF4-FFF2-40B4-BE49-F238E27FC236}">
                <a16:creationId xmlns:a16="http://schemas.microsoft.com/office/drawing/2014/main" id="{781C25FF-34AA-9841-8B34-16E32D5BB5D4}"/>
              </a:ext>
            </a:extLst>
          </p:cNvPr>
          <p:cNvSpPr/>
          <p:nvPr userDrawn="1"/>
        </p:nvSpPr>
        <p:spPr>
          <a:xfrm>
            <a:off x="0" y="486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8" name="TextBox 177">
            <a:extLst>
              <a:ext uri="{FF2B5EF4-FFF2-40B4-BE49-F238E27FC236}">
                <a16:creationId xmlns:a16="http://schemas.microsoft.com/office/drawing/2014/main" id="{221BAAC2-B73A-854C-8E71-157064C02D52}"/>
              </a:ext>
            </a:extLst>
          </p:cNvPr>
          <p:cNvSpPr txBox="1"/>
          <p:nvPr userDrawn="1"/>
        </p:nvSpPr>
        <p:spPr>
          <a:xfrm>
            <a:off x="604489" y="49605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179" name="Рисунок 178">
            <a:extLst>
              <a:ext uri="{FF2B5EF4-FFF2-40B4-BE49-F238E27FC236}">
                <a16:creationId xmlns:a16="http://schemas.microsoft.com/office/drawing/2014/main" id="{A811AA2B-B0DE-1C40-A616-F8143864F4ED}"/>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4932000"/>
            <a:ext cx="288000" cy="288000"/>
          </a:xfrm>
          <a:prstGeom prst="rect">
            <a:avLst/>
          </a:prstGeom>
        </p:spPr>
      </p:pic>
      <p:sp>
        <p:nvSpPr>
          <p:cNvPr id="53" name="Прямоугольник 52">
            <a:extLst>
              <a:ext uri="{FF2B5EF4-FFF2-40B4-BE49-F238E27FC236}">
                <a16:creationId xmlns:a16="http://schemas.microsoft.com/office/drawing/2014/main" id="{E8534B8E-5B96-DE4E-BBE2-65CBE8F6DD7C}"/>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E42ABF7C-14D2-C34E-8DBC-9837177C3A5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4755710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pPr/>
              <a:t>‹#›</a:t>
            </a:fld>
            <a:endParaRPr lang="ru-RU" dirty="0"/>
          </a:p>
        </p:txBody>
      </p:sp>
      <p:pic>
        <p:nvPicPr>
          <p:cNvPr id="3" name="Рисунок 2"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7829903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3_ИТ-внедрен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DFFA306-4E15-E949-9709-F8153EE88F4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84988645-5DB7-DE46-AA2C-D6394E2333C6}"/>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1DACB476-9A9C-CE43-AAA2-1C3E85359649}"/>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3204DC8C-00D6-CC4B-A90F-B012B8D42D31}"/>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5BD6F3C-8579-9A4F-97F1-221D0CC58B0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F76CE5E0-D155-3142-82A9-31F639B10BE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AC2FCB7-455D-3846-AF00-6309D169CDE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E87F866-470E-C145-8842-311DD7F7B35F}"/>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5C7FB279-F2D3-714E-92ED-F0026C26782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32E4F3A8-C78F-1048-8D1F-92684DD8BF3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3EABC97C-9CA4-8E45-81FE-30AD7798833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ED815AFE-15DA-324F-ADD8-E2339785B335}"/>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1B65C54A-16FA-FE4B-95D2-203E345C1B9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86753F-AFC5-FC4E-92BC-786E7B3F4B79}"/>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86FA67C-29F4-604E-8A62-5D634E81B9DE}"/>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A2C03665-9F07-7644-86E8-F2F1D9EC2206}"/>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7579A64F-3789-7644-BF39-7666B0F9017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252FDBC-7306-B944-9A3A-6B1EC16C21DA}"/>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55B5BA8A-6484-194C-AE62-FDDAFE2F13C6}"/>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3BF7AAB1-4487-A640-8100-04A90A7FBCE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9EE6884-3EF7-7D49-A06B-796FD72261B0}"/>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7ECFC8-1380-4044-89EB-F729E5ED6AD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E0368B5-7EC1-9441-B9DA-57F07877F1F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233AE29-F3C8-B346-BEA2-1292D0F9D49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B36C9A63-1EE0-1442-A27C-73DC0FE2A26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D5F8CEF5-E90A-6446-B143-4CBE695E90E5}"/>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1AA4665-BE6E-6544-A2E3-8ACDFA32037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67BE6A3-B4CE-8D46-82FD-66A60F6FAC6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303DB7D-72DB-D445-A492-293F5CF0CB60}"/>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0EC0FF97-4FB9-8F42-AC0D-77CBEFCB5F8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08C060D3-1ABB-954D-9DE4-DB091D876572}"/>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DA358D83-886A-D54D-9290-396D66205888}"/>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27ECD3D-559B-CA45-B98E-E5DB0A983AD6}"/>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CC4A12B-BBB2-7E4B-8C9D-3B3F9D67365A}"/>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0D4FFB4-007A-B44A-8698-D43D037B351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879D4E54-1AAB-F842-84E1-7B3E1BCF8A8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1" name="Рисунок 100">
            <a:extLst>
              <a:ext uri="{FF2B5EF4-FFF2-40B4-BE49-F238E27FC236}">
                <a16:creationId xmlns:a16="http://schemas.microsoft.com/office/drawing/2014/main" id="{9F6E8E67-2134-6746-9960-67133E72DE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7B065E1-3737-DA47-A21A-8C04F014A1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A2EB8D49-44A1-4A4F-A665-A3344CAA336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0A91E382-6A64-AB4E-BAB2-F264BD0B22C0}"/>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D7B5DFA6-8E5D-4142-9A69-DBAB5A845C87}"/>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C05285A9-C78B-CA4F-B15E-86EC9B34D6B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E9E2D4E6-5E28-944A-A33C-6B1997C10EE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3" name="Прямоугольник 112">
            <a:extLst>
              <a:ext uri="{FF2B5EF4-FFF2-40B4-BE49-F238E27FC236}">
                <a16:creationId xmlns:a16="http://schemas.microsoft.com/office/drawing/2014/main" id="{BAB6EAD4-0B11-C842-BEB6-C727F45B5F9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6884F00B-B497-4F4D-98B5-140F57BB5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5" name="Рисунок 114">
            <a:extLst>
              <a:ext uri="{FF2B5EF4-FFF2-40B4-BE49-F238E27FC236}">
                <a16:creationId xmlns:a16="http://schemas.microsoft.com/office/drawing/2014/main" id="{B2CFEE18-0D9B-604A-B78B-3204A7CEC07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5" name="Прямоугольник 184">
            <a:extLst>
              <a:ext uri="{FF2B5EF4-FFF2-40B4-BE49-F238E27FC236}">
                <a16:creationId xmlns:a16="http://schemas.microsoft.com/office/drawing/2014/main" id="{890AE502-6D2D-9840-AA20-BE4F59893916}"/>
              </a:ext>
            </a:extLst>
          </p:cNvPr>
          <p:cNvSpPr/>
          <p:nvPr userDrawn="1"/>
        </p:nvSpPr>
        <p:spPr>
          <a:xfrm>
            <a:off x="0" y="529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E20B85DD-FC8D-6241-9AA6-6C4DD4278170}"/>
              </a:ext>
            </a:extLst>
          </p:cNvPr>
          <p:cNvSpPr txBox="1"/>
          <p:nvPr userDrawn="1"/>
        </p:nvSpPr>
        <p:spPr>
          <a:xfrm>
            <a:off x="604489" y="53925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187" name="Рисунок 186">
            <a:extLst>
              <a:ext uri="{FF2B5EF4-FFF2-40B4-BE49-F238E27FC236}">
                <a16:creationId xmlns:a16="http://schemas.microsoft.com/office/drawing/2014/main" id="{58722B2D-4C96-8A4B-BB84-32A648579FA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364000"/>
            <a:ext cx="288000" cy="288000"/>
          </a:xfrm>
          <a:prstGeom prst="rect">
            <a:avLst/>
          </a:prstGeom>
        </p:spPr>
      </p:pic>
      <p:sp>
        <p:nvSpPr>
          <p:cNvPr id="53" name="Прямоугольник 52">
            <a:extLst>
              <a:ext uri="{FF2B5EF4-FFF2-40B4-BE49-F238E27FC236}">
                <a16:creationId xmlns:a16="http://schemas.microsoft.com/office/drawing/2014/main" id="{1C0D21BB-EDFE-D944-A87E-D59C6F70256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A0850A7D-A225-724F-B822-833A0B52EF2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4418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4_Housekeeping dashboard">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BC8E6E5D-70F2-E24E-8A30-5CA5A090B08D}"/>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30FEF1C-CDC7-324E-9731-D4FD1762AC6F}"/>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8DA50FF-3032-8C46-87C8-0834FD4A605A}"/>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CF68C8F-D679-ED4D-9405-6C66367F54E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251325C-84DA-C841-AC5D-81DC5243AD3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A50D578-C8D0-0245-B07C-1B4EDA98D6D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C44079C-4446-A748-A098-EE007009CBB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BC53B92-3877-E24B-9891-0C324F8435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DCB41B9-E853-0C43-9A5E-3BCF890CE55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27B3AF6D-DA74-9B4D-8AF5-0E04E2C64B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98B1AC4-52D0-0049-9945-FCD3B7581CC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BC6A984-A57C-7C45-B4DB-1312F04E3AFD}"/>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27DFA1E5-0CA2-204B-91E7-A81F44A6494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487DB0E0-2302-BF49-8F24-15183E5A8FF5}"/>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931D5255-3E6C-5F46-917B-E67E45DC9CED}"/>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DC326296-C91A-2E46-AE36-E632D4C576A0}"/>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15693F7-2B66-D846-8B02-D11551B94B4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B88EA959-27DF-FA4D-8C28-7DE73B48C506}"/>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AC9A54F-C03C-D642-B560-FA7B70135B8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794F5C4-9DCC-2D46-B91E-75A507CA2F5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EB06C74-61BA-1744-B22E-AB27180DF33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27E936D3-0B22-4A45-9F9F-602D5766063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2334DA49-7E78-7D48-A3B1-9F9AF62CF641}"/>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C261CCDE-B025-6146-811E-C20EB9ACB2D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A3ED3DEC-7028-B541-AFF7-361A8DFF78C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132977-CBD0-1B40-BF2A-E6FF59AF80D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E32EF39-2D0D-8144-869A-44EA3BD47CAC}"/>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4B360DE-1FA3-FE4F-BEB6-BDEB8C052FF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D76E6F21-3381-5A4A-9A02-6598295AC25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60E435E-DC06-424F-9B25-03E19F2829FD}"/>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E8DA84-EB0C-6D4E-A5D9-5F91B14FFDA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105A2AF-8021-1342-A513-2C12297B6C8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AE4AAA0E-410A-7648-9A48-D50E20C80673}"/>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98BDE3E-31E1-444C-8A2F-855937B59810}"/>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1AC88E8-4267-E74E-879A-49276F0FE410}"/>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88A4365-A412-FC4E-8219-20BDF9EFAF3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B5434D16-DD9A-0E4D-A71E-0CF0F7394F3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B33C1554-F6DA-2640-BC95-C93B8E6FC73B}"/>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4336B050-6CEE-5644-8EEB-ECAA229171DD}"/>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B96BF871-A2DF-CE41-A42E-6BEC4483A4CB}"/>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3806C03E-9B04-5F41-BDCC-993EC18DF83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DFFE2BCB-A6B6-6247-8A04-6AE4A1B8734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4F12502A-2D47-464D-BF73-F9DA9746347B}"/>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6" name="Прямоугольник 115">
            <a:extLst>
              <a:ext uri="{FF2B5EF4-FFF2-40B4-BE49-F238E27FC236}">
                <a16:creationId xmlns:a16="http://schemas.microsoft.com/office/drawing/2014/main" id="{D356A863-8ED0-104C-A979-011ADC9CA5F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E84BD71D-6511-D649-B681-40BF6DC15B69}"/>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B801D65F-1EDC-3F4F-83D0-786DC17DA30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9" name="Прямоугольник 188">
            <a:extLst>
              <a:ext uri="{FF2B5EF4-FFF2-40B4-BE49-F238E27FC236}">
                <a16:creationId xmlns:a16="http://schemas.microsoft.com/office/drawing/2014/main" id="{8AE3B7E6-3007-2941-81A3-21BDEB2EC6B9}"/>
              </a:ext>
            </a:extLst>
          </p:cNvPr>
          <p:cNvSpPr/>
          <p:nvPr userDrawn="1"/>
        </p:nvSpPr>
        <p:spPr>
          <a:xfrm>
            <a:off x="0" y="572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0010455-FBAE-194A-B4A7-9E0159C29FC4}"/>
              </a:ext>
            </a:extLst>
          </p:cNvPr>
          <p:cNvSpPr txBox="1"/>
          <p:nvPr userDrawn="1"/>
        </p:nvSpPr>
        <p:spPr>
          <a:xfrm>
            <a:off x="604489" y="58245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191" name="Рисунок 190">
            <a:extLst>
              <a:ext uri="{FF2B5EF4-FFF2-40B4-BE49-F238E27FC236}">
                <a16:creationId xmlns:a16="http://schemas.microsoft.com/office/drawing/2014/main" id="{56B9C68B-7BB9-884D-BEDC-D92335D8281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796000"/>
            <a:ext cx="288000" cy="288000"/>
          </a:xfrm>
          <a:prstGeom prst="rect">
            <a:avLst/>
          </a:prstGeom>
        </p:spPr>
      </p:pic>
      <p:sp>
        <p:nvSpPr>
          <p:cNvPr id="53" name="Прямоугольник 52">
            <a:extLst>
              <a:ext uri="{FF2B5EF4-FFF2-40B4-BE49-F238E27FC236}">
                <a16:creationId xmlns:a16="http://schemas.microsoft.com/office/drawing/2014/main" id="{25D879A6-CBDA-ED4B-86CF-803AFB23ED4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F0A6CCB5-6DB2-C741-905E-C8246E9FB6B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901880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5_Дополнительно">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8782B54-09F5-FF48-9B91-5AF0B81A52BB}"/>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B5AA8F6-C08B-CB4A-8762-DBC65E1FBF9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7EE5BF7-FE67-064C-BD00-33AACC8A266C}"/>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4E24D38-DAE0-A845-A2CC-FF4925853E2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09FC5A9-0200-B340-B4FF-5E3472DDD36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FBF37FB-131F-7F48-A501-AC2B06644F1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74756C2-0474-F745-86EE-35A0D1F8FBE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557E184-5A8E-074E-A890-C6F394D2618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36CCC9-B874-964A-9353-16FC33392E7E}"/>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723B0DE7-EA2E-7647-BFF2-F0F88DDEE4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AF03B150-8FEF-4146-9948-924FF8312163}"/>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0F1BC41A-4AC5-D544-9430-F8CCFEB0144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095B8517-A845-E948-A6BD-A1AB41C76D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1CD41B4-58C4-7349-BA2D-618DF6701C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F6BD64F6-CE5D-9F46-9D0F-691CC9848852}"/>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3BAFEF7-2D2A-064A-B22A-84845B1BC5B3}"/>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2DAFC37C-AF10-1546-B7DF-798FD68E4CD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4F2405B-DFB1-DA4D-99DA-87D6F23A42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43A06FF3-64A6-464C-A7B3-879FC42C0BB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965265F-8368-CE4E-AA9C-1CBADD44987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861ED43-2259-4A41-8446-781F203172B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4A212F8-6C9B-9348-9AA2-FA83D33980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C22D92A-0F7A-5840-A64B-9BBF7B14225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94DA328A-2023-0D4B-A9C7-37DEEB53C7D8}"/>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B1DF208-643C-9747-BF21-F947E988939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BEA8ED4-7390-9046-AA7E-6EFFD312E53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A0D4B8C-45C3-3048-BCC5-2DBC75721F47}"/>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2676D885-46BC-4B44-B3A3-BBFF9928123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B97417-22BE-B643-AF16-00D97D7BADA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6F2D877A-6916-8845-AB04-AD1A2047FBF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C0460A-0A47-F84E-83AB-675E887F677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961A2AB0-4F3F-9749-8AB5-D4BD15FA30C1}"/>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55732E1-C24D-1F45-B0E1-F9A53BD8567B}"/>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C9FE514-F8C2-7849-A6A4-8F925DF33B09}"/>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70711CE-745D-E540-93A5-CAA08FC072A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 name="TextBox 96">
            <a:extLst>
              <a:ext uri="{FF2B5EF4-FFF2-40B4-BE49-F238E27FC236}">
                <a16:creationId xmlns:a16="http://schemas.microsoft.com/office/drawing/2014/main" id="{7DB94F94-F1F4-EF40-A063-120B8708372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8" name="Рисунок 97">
            <a:extLst>
              <a:ext uri="{FF2B5EF4-FFF2-40B4-BE49-F238E27FC236}">
                <a16:creationId xmlns:a16="http://schemas.microsoft.com/office/drawing/2014/main" id="{EA639D4A-E876-A344-91CF-9C0FCC1393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9" name="Прямоугольник 98">
            <a:extLst>
              <a:ext uri="{FF2B5EF4-FFF2-40B4-BE49-F238E27FC236}">
                <a16:creationId xmlns:a16="http://schemas.microsoft.com/office/drawing/2014/main" id="{ED1372D9-E19A-8544-85B7-028DAB7C8067}"/>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2A15AAB-9DFA-7149-B982-CCAC4152CDE7}"/>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4" name="Рисунок 103">
            <a:extLst>
              <a:ext uri="{FF2B5EF4-FFF2-40B4-BE49-F238E27FC236}">
                <a16:creationId xmlns:a16="http://schemas.microsoft.com/office/drawing/2014/main" id="{8EDC4888-B047-1845-B6D1-DBA16E92882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5" name="Прямоугольник 104">
            <a:extLst>
              <a:ext uri="{FF2B5EF4-FFF2-40B4-BE49-F238E27FC236}">
                <a16:creationId xmlns:a16="http://schemas.microsoft.com/office/drawing/2014/main" id="{938976E7-9CA7-524B-A9C5-18EBA5BC2F94}"/>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F46D6FD2-8B82-EA44-8518-4593379245C9}"/>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FC14728E-78BB-3647-BF71-98573E246A0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8EA413F7-F2CF-2E4F-AA2A-807627A1CBC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8010D40C-1CDB-AD43-868B-0071FF18907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389A9504-9942-9C46-B91B-4F6395AD3AC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94" name="Прямоугольник 193">
            <a:extLst>
              <a:ext uri="{FF2B5EF4-FFF2-40B4-BE49-F238E27FC236}">
                <a16:creationId xmlns:a16="http://schemas.microsoft.com/office/drawing/2014/main" id="{1AEB36F1-0B85-8D4A-B3C9-47F82A5FA594}"/>
              </a:ext>
            </a:extLst>
          </p:cNvPr>
          <p:cNvSpPr/>
          <p:nvPr userDrawn="1"/>
        </p:nvSpPr>
        <p:spPr>
          <a:xfrm>
            <a:off x="0" y="615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5" name="TextBox 194">
            <a:extLst>
              <a:ext uri="{FF2B5EF4-FFF2-40B4-BE49-F238E27FC236}">
                <a16:creationId xmlns:a16="http://schemas.microsoft.com/office/drawing/2014/main" id="{013E5196-FDF2-7948-B005-A97E7E9527E5}"/>
              </a:ext>
            </a:extLst>
          </p:cNvPr>
          <p:cNvSpPr txBox="1"/>
          <p:nvPr userDrawn="1"/>
        </p:nvSpPr>
        <p:spPr>
          <a:xfrm>
            <a:off x="604489" y="62565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196" name="Рисунок 195">
            <a:extLst>
              <a:ext uri="{FF2B5EF4-FFF2-40B4-BE49-F238E27FC236}">
                <a16:creationId xmlns:a16="http://schemas.microsoft.com/office/drawing/2014/main" id="{26E4282E-A92C-F140-9BC2-BCAB9E7C9807}"/>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6228000"/>
            <a:ext cx="288000" cy="288000"/>
          </a:xfrm>
          <a:prstGeom prst="rect">
            <a:avLst/>
          </a:prstGeom>
        </p:spPr>
      </p:pic>
      <p:sp>
        <p:nvSpPr>
          <p:cNvPr id="53" name="Прямоугольник 52">
            <a:extLst>
              <a:ext uri="{FF2B5EF4-FFF2-40B4-BE49-F238E27FC236}">
                <a16:creationId xmlns:a16="http://schemas.microsoft.com/office/drawing/2014/main" id="{3C6A29F3-0ED7-9646-9C12-A135630D20B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90BA47B-644C-164D-8434-599A8D845AE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728616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ОС блока (лого)">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191344" y="1"/>
            <a:ext cx="9289032"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pic>
        <p:nvPicPr>
          <p:cNvPr id="3" name="Рисунок 2">
            <a:extLst>
              <a:ext uri="{FF2B5EF4-FFF2-40B4-BE49-F238E27FC236}">
                <a16:creationId xmlns:a16="http://schemas.microsoft.com/office/drawing/2014/main" id="{892DAC0A-FA61-6547-9C54-FE7681EEEB8D}"/>
              </a:ext>
            </a:extLst>
          </p:cNvPr>
          <p:cNvPicPr>
            <a:picLocks noChangeAspect="1"/>
          </p:cNvPicPr>
          <p:nvPr userDrawn="1"/>
        </p:nvPicPr>
        <p:blipFill rotWithShape="1">
          <a:blip r:embed="rId2" cstate="print">
            <a:clrChange>
              <a:clrFrom>
                <a:srgbClr val="215F38"/>
              </a:clrFrom>
              <a:clrTo>
                <a:srgbClr val="215F38">
                  <a:alpha val="0"/>
                </a:srgbClr>
              </a:clrTo>
            </a:clrChange>
            <a:extLst>
              <a:ext uri="{28A0092B-C50C-407E-A947-70E740481C1C}">
                <a14:useLocalDpi xmlns:a14="http://schemas.microsoft.com/office/drawing/2010/main" val="0"/>
              </a:ext>
            </a:extLst>
          </a:blip>
          <a:srcRect l="12458" t="15687" r="11313" b="65496"/>
          <a:stretch/>
        </p:blipFill>
        <p:spPr>
          <a:xfrm>
            <a:off x="10380391" y="0"/>
            <a:ext cx="1640806" cy="540000"/>
          </a:xfrm>
          <a:prstGeom prst="rect">
            <a:avLst/>
          </a:prstGeom>
        </p:spPr>
      </p:pic>
      <p:pic>
        <p:nvPicPr>
          <p:cNvPr id="5" name="Рисунок 4"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pic>
        <p:nvPicPr>
          <p:cNvPr id="6" name="Рисунок 5"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1333980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schemeClr val="tx1"/>
                </a:solidFill>
                <a:latin typeface="Calibri" pitchFamily="34" charset="0"/>
                <a:cs typeface="Calibri" pitchFamily="34" charset="0"/>
              </a:rPr>
              <a:t>© Департамент финансов</a:t>
            </a:r>
            <a:endParaRPr lang="en-US" sz="1200" dirty="0">
              <a:solidFill>
                <a:schemeClr val="tx1"/>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201422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8682"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12" name="Рисунок 11" descr="http://D0340E7D5E8451B36CF9DE5E517AB11D.dms.sberbank.ru/D0340E7D5E8451B36CF9DE5E517AB11D-76E77F61EA6BF346E8CD249421A1F0C6-979C24910635A5F09AF6D68FE94A4CA8/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0665251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7745606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p:spTree>
      <p:nvGrpSpPr>
        <p:cNvPr id="1" name=""/>
        <p:cNvGrpSpPr/>
        <p:nvPr/>
      </p:nvGrpSpPr>
      <p:grpSpPr>
        <a:xfrm>
          <a:off x="0" y="0"/>
          <a:ext cx="0" cy="0"/>
          <a:chOff x="0" y="0"/>
          <a:chExt cx="0" cy="0"/>
        </a:xfrm>
      </p:grpSpPr>
      <p:sp>
        <p:nvSpPr>
          <p:cNvPr id="13" name="Прямоугольный треугольник 12"/>
          <p:cNvSpPr/>
          <p:nvPr userDrawn="1"/>
        </p:nvSpPr>
        <p:spPr bwMode="auto">
          <a:xfrm rot="10800000" flipH="1">
            <a:off x="-432711" y="-42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19" name="Параллелограмм 18"/>
          <p:cNvSpPr/>
          <p:nvPr userDrawn="1"/>
        </p:nvSpPr>
        <p:spPr bwMode="auto">
          <a:xfrm>
            <a:off x="8592277" y="-6985"/>
            <a:ext cx="494400"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1009269" y="865"/>
            <a:ext cx="2280000" cy="3356129"/>
          </a:xfrm>
          <a:prstGeom prst="parallelogram">
            <a:avLst>
              <a:gd name="adj" fmla="val 9491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7" name="Picture 15" descr="logo"/>
          <p:cNvPicPr>
            <a:picLocks noChangeAspect="1" noChangeArrowheads="1"/>
          </p:cNvPicPr>
          <p:nvPr userDrawn="1"/>
        </p:nvPicPr>
        <p:blipFill>
          <a:blip r:embed="rId2" cstate="print"/>
          <a:srcRect/>
          <a:stretch>
            <a:fillRect/>
          </a:stretch>
        </p:blipFill>
        <p:spPr bwMode="auto">
          <a:xfrm>
            <a:off x="9539684" y="324695"/>
            <a:ext cx="2349955" cy="468000"/>
          </a:xfrm>
          <a:prstGeom prst="rect">
            <a:avLst/>
          </a:prstGeom>
          <a:noFill/>
          <a:ln w="9525">
            <a:noFill/>
            <a:miter lim="800000"/>
            <a:headEnd/>
            <a:tailEnd/>
          </a:ln>
        </p:spPr>
      </p:pic>
      <p:sp>
        <p:nvSpPr>
          <p:cNvPr id="9" name="Параллелограмм 8"/>
          <p:cNvSpPr>
            <a:spLocks/>
          </p:cNvSpPr>
          <p:nvPr userDrawn="1"/>
        </p:nvSpPr>
        <p:spPr bwMode="auto">
          <a:xfrm>
            <a:off x="8123993" y="149182"/>
            <a:ext cx="681600" cy="938244"/>
          </a:xfrm>
          <a:prstGeom prst="parallelogram">
            <a:avLst>
              <a:gd name="adj" fmla="val 88198"/>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2" name="Прямоугольный треугольник 11"/>
          <p:cNvSpPr/>
          <p:nvPr userDrawn="1"/>
        </p:nvSpPr>
        <p:spPr bwMode="auto">
          <a:xfrm flipH="1">
            <a:off x="8922242" y="112474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20" name="Параллелограмм 19"/>
          <p:cNvSpPr>
            <a:spLocks/>
          </p:cNvSpPr>
          <p:nvPr userDrawn="1"/>
        </p:nvSpPr>
        <p:spPr bwMode="auto">
          <a:xfrm>
            <a:off x="519194" y="-117881"/>
            <a:ext cx="911685" cy="828000"/>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1" name="Параллелограмм 20"/>
          <p:cNvSpPr>
            <a:spLocks/>
          </p:cNvSpPr>
          <p:nvPr userDrawn="1"/>
        </p:nvSpPr>
        <p:spPr bwMode="auto">
          <a:xfrm>
            <a:off x="911432" y="6021288"/>
            <a:ext cx="895361" cy="1224136"/>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2" name="Параллелограмм 21"/>
          <p:cNvSpPr>
            <a:spLocks/>
          </p:cNvSpPr>
          <p:nvPr userDrawn="1"/>
        </p:nvSpPr>
        <p:spPr bwMode="auto">
          <a:xfrm>
            <a:off x="-1603962" y="11051370"/>
            <a:ext cx="1207087" cy="1077735"/>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6" name="Параллелограмм 25"/>
          <p:cNvSpPr/>
          <p:nvPr userDrawn="1"/>
        </p:nvSpPr>
        <p:spPr bwMode="auto">
          <a:xfrm>
            <a:off x="8911915" y="3471123"/>
            <a:ext cx="2476467" cy="3400839"/>
          </a:xfrm>
          <a:prstGeom prst="parallelogram">
            <a:avLst>
              <a:gd name="adj" fmla="val 8903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7" name="Параллелограмм 26"/>
          <p:cNvSpPr>
            <a:spLocks/>
          </p:cNvSpPr>
          <p:nvPr userDrawn="1"/>
        </p:nvSpPr>
        <p:spPr bwMode="auto">
          <a:xfrm>
            <a:off x="11311877" y="5348940"/>
            <a:ext cx="671856" cy="936000"/>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0" name="Параллелограмм 29"/>
          <p:cNvSpPr/>
          <p:nvPr userDrawn="1"/>
        </p:nvSpPr>
        <p:spPr bwMode="auto">
          <a:xfrm>
            <a:off x="632529" y="188119"/>
            <a:ext cx="720000" cy="1044000"/>
          </a:xfrm>
          <a:prstGeom prst="parallelogram">
            <a:avLst>
              <a:gd name="adj" fmla="val 922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4" name="Параллелограмм 23"/>
          <p:cNvSpPr/>
          <p:nvPr userDrawn="1"/>
        </p:nvSpPr>
        <p:spPr bwMode="auto">
          <a:xfrm>
            <a:off x="1641632" y="5816940"/>
            <a:ext cx="671856" cy="606208"/>
          </a:xfrm>
          <a:prstGeom prst="parallelogram">
            <a:avLst>
              <a:gd name="adj" fmla="val 57816"/>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1" name="Параллелограмм 30"/>
          <p:cNvSpPr/>
          <p:nvPr userDrawn="1"/>
        </p:nvSpPr>
        <p:spPr bwMode="auto">
          <a:xfrm>
            <a:off x="11551733" y="5153440"/>
            <a:ext cx="432000" cy="576000"/>
          </a:xfrm>
          <a:prstGeom prst="parallelogram">
            <a:avLst>
              <a:gd name="adj" fmla="val 835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4518654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white">
                    <a:lumMod val="50000"/>
                  </a:prstClr>
                </a:solidFill>
                <a:latin typeface="Calibri" pitchFamily="34" charset="0"/>
                <a:cs typeface="Calibri" pitchFamily="34" charset="0"/>
              </a:rPr>
              <a:t>© Казначейство</a:t>
            </a:r>
            <a:endParaRPr lang="en-US" sz="1200" dirty="0">
              <a:solidFill>
                <a:prstClr val="white">
                  <a:lumMod val="50000"/>
                </a:prstClr>
              </a:solidFill>
              <a:latin typeface="Calibri" pitchFamily="34" charset="0"/>
              <a:cs typeface="Calibri" pitchFamily="34" charset="0"/>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15894611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40849129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23893444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9"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black"/>
                </a:solidFill>
                <a:latin typeface="Calibri" pitchFamily="34" charset="0"/>
                <a:cs typeface="Calibri" pitchFamily="34" charset="0"/>
              </a:rPr>
              <a:t>© Департамент финансов</a:t>
            </a:r>
            <a:endParaRPr lang="en-US" sz="1200" dirty="0">
              <a:solidFill>
                <a:prstClr val="black"/>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3608648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0202038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CZAR2014_Обычный слайд">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507"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fontAlgn="auto" hangingPunct="1">
              <a:spcBef>
                <a:spcPct val="50000"/>
              </a:spcBef>
              <a:spcAft>
                <a:spcPts val="0"/>
              </a:spcAft>
              <a:defRPr/>
            </a:pPr>
            <a:r>
              <a:rPr lang="ru-RU" sz="1200" dirty="0">
                <a:solidFill>
                  <a:prstClr val="white">
                    <a:lumMod val="50000"/>
                  </a:prstClr>
                </a:solidFill>
                <a:latin typeface="Calibri" pitchFamily="34" charset="0"/>
                <a:cs typeface="Calibri" pitchFamily="34" charset="0"/>
              </a:rPr>
              <a:t>Казначейство</a:t>
            </a:r>
            <a:endParaRPr lang="en-US" sz="1200" dirty="0">
              <a:solidFill>
                <a:prstClr val="white">
                  <a:lumMod val="50000"/>
                </a:prstClr>
              </a:solidFill>
              <a:latin typeface="Calibri" pitchFamily="34" charset="0"/>
              <a:cs typeface="Calibri" pitchFamily="34" charset="0"/>
            </a:endParaRPr>
          </a:p>
        </p:txBody>
      </p:sp>
      <p:sp>
        <p:nvSpPr>
          <p:cNvPr id="13" name="Параллелограмм 12"/>
          <p:cNvSpPr>
            <a:spLocks/>
          </p:cNvSpPr>
          <p:nvPr userDrawn="1"/>
        </p:nvSpPr>
        <p:spPr bwMode="auto">
          <a:xfrm>
            <a:off x="11519228" y="6544797"/>
            <a:ext cx="350400" cy="325880"/>
          </a:xfrm>
          <a:prstGeom prst="parallelogram">
            <a:avLst>
              <a:gd name="adj" fmla="val 55062"/>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4" name="Параллелограмм 13"/>
          <p:cNvSpPr/>
          <p:nvPr userDrawn="1"/>
        </p:nvSpPr>
        <p:spPr bwMode="auto">
          <a:xfrm>
            <a:off x="11649887" y="6453615"/>
            <a:ext cx="308620" cy="366563"/>
          </a:xfrm>
          <a:prstGeom prst="parallelogram">
            <a:avLst>
              <a:gd name="adj" fmla="val 70730"/>
            </a:avLst>
          </a:prstGeom>
          <a:gradFill flip="none" rotWithShape="1">
            <a:gsLst>
              <a:gs pos="0">
                <a:srgbClr val="AB331F"/>
              </a:gs>
              <a:gs pos="100000">
                <a:srgbClr val="DA4A32"/>
              </a:gs>
            </a:gsLst>
            <a:lin ang="0" scaled="1"/>
            <a:tileRect/>
          </a:gradFill>
          <a:ln w="9525" cap="flat" cmpd="sng" algn="ctr">
            <a:noFill/>
            <a:prstDash val="solid"/>
          </a:ln>
          <a:effectLst>
            <a:outerShdw blurRad="38100" dist="38100" dir="2700000" sx="87000" sy="87000" algn="tl" rotWithShape="0">
              <a:prstClr val="black">
                <a:alpha val="45000"/>
              </a:prstClr>
            </a:outerShdw>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0" name="Заголовок 1"/>
          <p:cNvSpPr>
            <a:spLocks noGrp="1"/>
          </p:cNvSpPr>
          <p:nvPr>
            <p:ph type="title"/>
          </p:nvPr>
        </p:nvSpPr>
        <p:spPr>
          <a:xfrm>
            <a:off x="239184" y="0"/>
            <a:ext cx="11343216" cy="620688"/>
          </a:xfrm>
          <a:prstGeom prst="rect">
            <a:avLst/>
          </a:prstGeom>
        </p:spPr>
        <p:txBody>
          <a:bodyPr lIns="108000" tIns="0" rIns="0" bIns="0" anchor="ctr"/>
          <a:lstStyle>
            <a:lvl1pPr>
              <a:defRPr>
                <a:solidFill>
                  <a:srgbClr val="3F3F3F"/>
                </a:solidFill>
              </a:defRPr>
            </a:lvl1pPr>
          </a:lstStyle>
          <a:p>
            <a:r>
              <a:rPr lang="ru-RU" dirty="0"/>
              <a:t>Образец заголовка</a:t>
            </a:r>
          </a:p>
        </p:txBody>
      </p:sp>
    </p:spTree>
    <p:extLst>
      <p:ext uri="{BB962C8B-B14F-4D97-AF65-F5344CB8AC3E}">
        <p14:creationId xmlns:p14="http://schemas.microsoft.com/office/powerpoint/2010/main" val="8987907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2167" name="Рисунок 216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8" name="Рисунок 216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9" name="Рисунок 2168"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0" name="Рисунок 2169"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1" name="Рисунок 2170"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2" name="Рисунок 2171"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3" name="Рисунок 2172"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4" name="Рисунок 2173"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5" name="Рисунок 2174"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6" name="Рисунок 2175"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7" name="Рисунок 217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8" name="Рисунок 217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3419690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pic>
        <p:nvPicPr>
          <p:cNvPr id="4" name="Рисунок 3"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pic>
        <p:nvPicPr>
          <p:cNvPr id="5" name="Рисунок 4"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24175864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839516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804785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4580367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4.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2.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3.xml"/><Relationship Id="rId7" Type="http://schemas.openxmlformats.org/officeDocument/2006/relationships/tags" Target="../tags/tag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theme" Target="../theme/theme7.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image" Target="../media/image9.emf"/><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41" Type="http://schemas.openxmlformats.org/officeDocument/2006/relationships/oleObject" Target="../embeddings/oleObject8.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tags" Target="../tags/tag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9" y="1589"/>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1"/>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3"/>
            <a:ext cx="2730131" cy="161711"/>
          </a:xfrm>
          <a:prstGeom prst="rect">
            <a:avLst/>
          </a:prstGeom>
          <a:noFill/>
        </p:spPr>
        <p:txBody>
          <a:bodyPr wrap="square" lIns="0" tIns="0" rIns="0" bIns="0" rtlCol="0">
            <a:spAutoFit/>
          </a:bodyPr>
          <a:lstStyle/>
          <a:p>
            <a:pPr defTabSz="0"/>
            <a:r>
              <a:rPr lang="en-US" sz="1051" dirty="0">
                <a:solidFill>
                  <a:srgbClr val="283A51"/>
                </a:solidFill>
                <a:latin typeface="Circe Light" panose="020B0402020203020203" pitchFamily="34" charset="-52"/>
              </a:rPr>
              <a:t>Earnings presentation</a:t>
            </a:r>
            <a:endParaRPr lang="ru-RU" sz="1051"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5" y="6263491"/>
            <a:ext cx="611759" cy="365125"/>
          </a:xfrm>
          <a:prstGeom prst="rect">
            <a:avLst/>
          </a:prstGeom>
        </p:spPr>
        <p:txBody>
          <a:bodyPr/>
          <a:lstStyle>
            <a:defPPr>
              <a:defRPr lang="ru-RU"/>
            </a:defPPr>
            <a:lvl1pPr>
              <a:defRPr sz="2000"/>
            </a:lvl1pPr>
          </a:lstStyle>
          <a:p>
            <a:pPr lvl="0"/>
            <a:fld id="{054C8753-49EE-4AA4-B7F7-004F2534EA1E}" type="slidenum">
              <a:rPr lang="ru-RU" sz="2000" smtClean="0"/>
              <a:pPr lvl="0"/>
              <a:t>‹#›</a:t>
            </a:fld>
            <a:endParaRPr lang="ru-RU" sz="2000" dirty="0"/>
          </a:p>
        </p:txBody>
      </p:sp>
    </p:spTree>
    <p:extLst>
      <p:ext uri="{BB962C8B-B14F-4D97-AF65-F5344CB8AC3E}">
        <p14:creationId xmlns:p14="http://schemas.microsoft.com/office/powerpoint/2010/main" val="3633158340"/>
      </p:ext>
    </p:extLst>
  </p:cSld>
  <p:clrMap bg1="lt1" tx1="dk1" bg2="lt2" tx2="dk2" accent1="accent1" accent2="accent2" accent3="accent3" accent4="accent4" accent5="accent5" accent6="accent6" hlink="hlink" folHlink="folHlink"/>
  <p:sldLayoutIdLst>
    <p:sldLayoutId id="2147483674" r:id="rId1"/>
    <p:sldLayoutId id="2147483675"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3" y="6226807"/>
            <a:ext cx="3403764" cy="161711"/>
          </a:xfrm>
          <a:prstGeom prst="rect">
            <a:avLst/>
          </a:prstGeom>
          <a:noFill/>
        </p:spPr>
        <p:txBody>
          <a:bodyPr wrap="square" lIns="0" tIns="0" rIns="0" bIns="0" rtlCol="0">
            <a:spAutoFit/>
          </a:bodyPr>
          <a:lstStyle/>
          <a:p>
            <a:pPr defTabSz="0"/>
            <a:r>
              <a:rPr lang="ru-RU" sz="1051"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7"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45388"/>
      </p:ext>
    </p:extLst>
  </p:cSld>
  <p:clrMap bg1="lt1" tx1="dk1" bg2="lt2" tx2="dk2" accent1="accent1" accent2="accent2" accent3="accent3" accent4="accent4" accent5="accent5" accent6="accent6" hlink="hlink" folHlink="folHlink"/>
  <p:sldLayoutIdLst>
    <p:sldLayoutId id="2147483679" r:id="rId1"/>
    <p:sldLayoutId id="2147483680"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987232082"/>
      </p:ext>
    </p:extLst>
  </p:cSld>
  <p:clrMap bg1="lt1" tx1="dk1" bg2="lt2" tx2="dk2" accent1="accent1" accent2="accent2" accent3="accent3" accent4="accent4" accent5="accent5" accent6="accent6" hlink="hlink" folHlink="folHlink"/>
  <p:sldLayoutIdLst>
    <p:sldLayoutId id="2147483686" r:id="rId1"/>
    <p:sldLayoutId id="2147483687"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2" y="6226806"/>
            <a:ext cx="3403764" cy="161583"/>
          </a:xfrm>
          <a:prstGeom prst="rect">
            <a:avLst/>
          </a:prstGeom>
          <a:noFill/>
        </p:spPr>
        <p:txBody>
          <a:bodyPr wrap="square" lIns="0" tIns="0" rIns="0" bIns="0" rtlCol="0">
            <a:spAutoFit/>
          </a:bodyPr>
          <a:lstStyle/>
          <a:p>
            <a:pPr defTabSz="0"/>
            <a:r>
              <a:rPr lang="ru-RU" sz="1050"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6"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160759"/>
      </p:ext>
    </p:extLst>
  </p:cSld>
  <p:clrMap bg1="lt1" tx1="dk1" bg2="lt2" tx2="dk2" accent1="accent1" accent2="accent2" accent3="accent3" accent4="accent4" accent5="accent5" accent6="accent6" hlink="hlink" folHlink="folHlink"/>
  <p:sldLayoutIdLst>
    <p:sldLayoutId id="2147483698" r:id="rId1"/>
    <p:sldLayoutId id="2147483699"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3690685435"/>
      </p:ext>
    </p:extLst>
  </p:cSld>
  <p:clrMap bg1="lt1" tx1="dk1" bg2="lt2" tx2="dk2" accent1="accent1" accent2="accent2" accent3="accent3" accent4="accent4" accent5="accent5" accent6="accent6" hlink="hlink" folHlink="folHlink"/>
  <p:sldLayoutIdLst>
    <p:sldLayoutId id="2147483731" r:id="rId1"/>
    <p:sldLayoutId id="2147483732"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7"/>
            </p:custDataLst>
            <p:extLst>
              <p:ext uri="{D42A27DB-BD31-4B8C-83A1-F6EECF244321}">
                <p14:modId xmlns:p14="http://schemas.microsoft.com/office/powerpoint/2010/main" val="30681065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3" name="Объект 2" hidden="1"/>
                      <p:cNvPicPr/>
                      <p:nvPr/>
                    </p:nvPicPr>
                    <p:blipFill>
                      <a:blip r:embed="rId9"/>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2426487637"/>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Lst>
  <p:hf hdr="0" ftr="0" dt="0"/>
  <p:txStyles>
    <p:titleStyle>
      <a:lvl1pPr algn="l" defTabSz="914377" rtl="0" eaLnBrk="1" latinLnBrk="0" hangingPunct="1">
        <a:lnSpc>
          <a:spcPct val="90000"/>
        </a:lnSpc>
        <a:spcBef>
          <a:spcPct val="0"/>
        </a:spcBef>
        <a:buNone/>
        <a:defRPr lang="en-US" sz="2267" b="0" i="0" kern="1200" cap="none" baseline="0" dirty="0" smtClean="0">
          <a:solidFill>
            <a:schemeClr val="tx1"/>
          </a:solidFill>
          <a:latin typeface="Calibri Light" charset="0"/>
          <a:ea typeface="Calibri Light" charset="0"/>
          <a:cs typeface="Calibri Light" charset="0"/>
        </a:defRPr>
      </a:lvl1pPr>
    </p:titleStyle>
    <p:bodyStyle>
      <a:lvl1pPr marL="0" indent="0" algn="l" defTabSz="914377" rtl="0" eaLnBrk="1" latinLnBrk="0" hangingPunct="1">
        <a:lnSpc>
          <a:spcPct val="90000"/>
        </a:lnSpc>
        <a:spcBef>
          <a:spcPts val="1000"/>
        </a:spcBef>
        <a:buFont typeface="Arial"/>
        <a:buNone/>
        <a:defRPr sz="2800" b="0" i="0" kern="1200">
          <a:solidFill>
            <a:schemeClr val="tx1"/>
          </a:solidFill>
          <a:latin typeface="+mn-lt"/>
          <a:ea typeface="Calibri Light" charset="0"/>
          <a:cs typeface="Calibri Light"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pos="7242">
          <p15:clr>
            <a:srgbClr val="F26B43"/>
          </p15:clr>
        </p15:guide>
        <p15:guide id="3" orient="horz" pos="436">
          <p15:clr>
            <a:srgbClr val="F26B43"/>
          </p15:clr>
        </p15:guide>
        <p15:guide id="4" orient="horz" pos="3884">
          <p15:clr>
            <a:srgbClr val="F26B43"/>
          </p15:clr>
        </p15:guide>
        <p15:guide id="17" orient="horz" pos="799">
          <p15:clr>
            <a:srgbClr val="F26B43"/>
          </p15:clr>
        </p15:guide>
        <p15:guide id="18" pos="3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3/13/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graphicFrame>
        <p:nvGraphicFramePr>
          <p:cNvPr id="7" name="Объект 6" hidden="1"/>
          <p:cNvGraphicFramePr>
            <a:graphicFrameLocks noChangeAspect="1"/>
          </p:cNvGraphicFramePr>
          <p:nvPr userDrawn="1">
            <p:custDataLst>
              <p:tags r:id="rId4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1" imgW="395" imgH="396" progId="TCLayout.ActiveDocument.1">
                  <p:embed/>
                </p:oleObj>
              </mc:Choice>
              <mc:Fallback>
                <p:oleObj name="Слайд think-cell" r:id="rId41" imgW="395" imgH="396" progId="TCLayout.ActiveDocument.1">
                  <p:embed/>
                  <p:pic>
                    <p:nvPicPr>
                      <p:cNvPr id="7" name="Объект 6" hidden="1"/>
                      <p:cNvPicPr/>
                      <p:nvPr/>
                    </p:nvPicPr>
                    <p:blipFill>
                      <a:blip r:embed="rId4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49149998"/>
      </p:ext>
    </p:extLst>
  </p:cSld>
  <p:clrMap bg1="lt1" tx1="dk1" bg2="lt2" tx2="dk2" accent1="accent1" accent2="accent2" accent3="accent3" accent4="accent4" accent5="accent5" accent6="accent6" hlink="hlink" folHlink="folHlink"/>
  <p:sldLayoutIdLst>
    <p:sldLayoutId id="2147485411" r:id="rId1"/>
    <p:sldLayoutId id="2147485412" r:id="rId2"/>
    <p:sldLayoutId id="2147485413" r:id="rId3"/>
    <p:sldLayoutId id="2147485414" r:id="rId4"/>
    <p:sldLayoutId id="2147485415" r:id="rId5"/>
    <p:sldLayoutId id="2147485416" r:id="rId6"/>
    <p:sldLayoutId id="2147485417" r:id="rId7"/>
    <p:sldLayoutId id="2147485418" r:id="rId8"/>
    <p:sldLayoutId id="2147485419" r:id="rId9"/>
    <p:sldLayoutId id="2147485420" r:id="rId10"/>
    <p:sldLayoutId id="2147485421" r:id="rId11"/>
    <p:sldLayoutId id="2147485422" r:id="rId12"/>
    <p:sldLayoutId id="2147485425" r:id="rId13"/>
    <p:sldLayoutId id="2147485426" r:id="rId14"/>
    <p:sldLayoutId id="2147485427" r:id="rId15"/>
    <p:sldLayoutId id="2147485428" r:id="rId16"/>
    <p:sldLayoutId id="2147485429" r:id="rId17"/>
    <p:sldLayoutId id="2147485430" r:id="rId18"/>
    <p:sldLayoutId id="2147485431" r:id="rId19"/>
    <p:sldLayoutId id="2147485432" r:id="rId20"/>
    <p:sldLayoutId id="2147485433" r:id="rId21"/>
    <p:sldLayoutId id="2147485434" r:id="rId22"/>
    <p:sldLayoutId id="2147485435" r:id="rId23"/>
    <p:sldLayoutId id="2147485436" r:id="rId24"/>
    <p:sldLayoutId id="2147485437" r:id="rId25"/>
    <p:sldLayoutId id="2147485438" r:id="rId26"/>
    <p:sldLayoutId id="2147485439" r:id="rId27"/>
    <p:sldLayoutId id="2147485440" r:id="rId28"/>
    <p:sldLayoutId id="2147485441" r:id="rId29"/>
    <p:sldLayoutId id="2147485442" r:id="rId30"/>
    <p:sldLayoutId id="2147485443" r:id="rId31"/>
    <p:sldLayoutId id="2147485444" r:id="rId32"/>
    <p:sldLayoutId id="2147485445" r:id="rId33"/>
    <p:sldLayoutId id="2147485446" r:id="rId34"/>
    <p:sldLayoutId id="2147485447" r:id="rId35"/>
    <p:sldLayoutId id="2147485448" r:id="rId36"/>
    <p:sldLayoutId id="2147485449" r:id="rId37"/>
    <p:sldLayoutId id="2147485450" r:id="rId3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4.xml"/><Relationship Id="rId4"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hyperlink" Target="https://rudhar.com/economi/monydebt/en/005bnkfn.htm" TargetMode="External"/><Relationship Id="rId2" Type="http://schemas.microsoft.com/office/2018/10/relationships/comments" Target="../comments/modernComment_7F3E8EFE_7378FB22.xml"/><Relationship Id="rId1" Type="http://schemas.openxmlformats.org/officeDocument/2006/relationships/slideLayout" Target="../slideLayouts/slideLayout22.xml"/><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hyperlink" Target="https://www.bis.org/bcbs/publ/d368.pdf" TargetMode="Externa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22.xml"/><Relationship Id="rId4" Type="http://schemas.openxmlformats.org/officeDocument/2006/relationships/image" Target="../media/image52.png"/></Relationships>
</file>

<file path=ppt/slides/_rels/slide17.xml.rels><?xml version="1.0" encoding="UTF-8" standalone="yes"?>
<Relationships xmlns="http://schemas.openxmlformats.org/package/2006/relationships"><Relationship Id="rId3" Type="http://schemas.openxmlformats.org/officeDocument/2006/relationships/image" Target="../media/image520.png"/><Relationship Id="rId2" Type="http://schemas.openxmlformats.org/officeDocument/2006/relationships/image" Target="../media/image510.png"/><Relationship Id="rId1" Type="http://schemas.openxmlformats.org/officeDocument/2006/relationships/slideLayout" Target="../slideLayouts/slideLayout22.xml"/><Relationship Id="rId6" Type="http://schemas.openxmlformats.org/officeDocument/2006/relationships/image" Target="../media/image530.png"/><Relationship Id="rId5" Type="http://schemas.openxmlformats.org/officeDocument/2006/relationships/image" Target="../media/image540.png"/><Relationship Id="rId4" Type="http://schemas.openxmlformats.org/officeDocument/2006/relationships/image" Target="../media/image5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2.xml"/><Relationship Id="rId4" Type="http://schemas.openxmlformats.org/officeDocument/2006/relationships/chart" Target="../charts/char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hyperlink" Target="https://www.bis.org/bcbs/publ/d368.pdf" TargetMode="Externa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hyperlink" Target="file:///C:\Users\GG71CD\OneDrive%20-%20ING\Desktop\Teaching\Interest%20rate%20risk\ssm.pr171009_slides.hu.pdf" TargetMode="External"/><Relationship Id="rId2" Type="http://schemas.openxmlformats.org/officeDocument/2006/relationships/image" Target="../media/image56.png"/><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hyperlink" Target="file:///C:\Users\GG71CD\OneDrive%20-%20ING\Desktop\Teaching\Interest%20rate%20risk\ssm.pr171009_slides.hu.pdf" TargetMode="Externa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hyperlink" Target="file:///C:\Users\GG71CD\OneDrive%20-%20ING\Desktop\Teaching\Interest%20rate%20risk\ssm.pr171009_slides.hu.pdf" TargetMode="Externa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hyperlink" Target="file:///C:\Users\GG71CD\OneDrive%20-%20ING\Desktop\Teaching\Interest%20rate%20risk\ssm.pr171009_slides.hu.pdf" TargetMode="Externa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hyperlink" Target="file:///C:\Users\GG71CD\OneDrive%20-%20ING\Desktop\Teaching\Interest%20rate%20risk\ssm.pr171009_slides.hu.pdf" TargetMode="Externa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hyperlink" Target="file:///C:\Users\GG71CD\OneDrive%20-%20ING\Desktop\Teaching\Interest%20rate%20risk\ssm.pr171009_slides.hu.pdf" TargetMode="External"/><Relationship Id="rId1" Type="http://schemas.openxmlformats.org/officeDocument/2006/relationships/slideLayout" Target="../slideLayouts/slideLayout22.xml"/><Relationship Id="rId4" Type="http://schemas.openxmlformats.org/officeDocument/2006/relationships/image" Target="../media/image62.png"/></Relationships>
</file>

<file path=ppt/slides/_rels/slide2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hyperlink" Target="file:///C:\Users\GG71CD\OneDrive%20-%20ING\Desktop\Teaching\Interest%20rate%20risk\ssm.pr171009_slides.hu.pdf" TargetMode="External"/><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hyperlink" Target="file:///C:\Users\GG71CD\OneDrive%20-%20ING\Desktop\Teaching\Interest%20rate%20risk\ssm.pr171009_slides.hu.pdf" TargetMode="Externa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43.png"/><Relationship Id="rId7" Type="http://schemas.openxmlformats.org/officeDocument/2006/relationships/hyperlink" Target="https://cbr.ru/oper_br/t_odm/secured_loans/" TargetMode="External"/><Relationship Id="rId2" Type="http://schemas.openxmlformats.org/officeDocument/2006/relationships/image" Target="../media/image42.png"/><Relationship Id="rId1" Type="http://schemas.openxmlformats.org/officeDocument/2006/relationships/slideLayout" Target="../slideLayouts/slideLayout22.xml"/><Relationship Id="rId6" Type="http://schemas.openxmlformats.org/officeDocument/2006/relationships/hyperlink" Target="https://www.ecb.europa.eu/mopo/intro/transmission/html/index.en.html" TargetMode="External"/><Relationship Id="rId5" Type="http://schemas.openxmlformats.org/officeDocument/2006/relationships/hyperlink" Target="https://cbr.ru/eng/analytics/lombardlist/" TargetMode="External"/><Relationship Id="rId4" Type="http://schemas.openxmlformats.org/officeDocument/2006/relationships/hyperlink" Target="https://cbr.ru/eng/hd_base/KeyRate/"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hyperlink" Target="file:///C:\Users\GG71CD\OneDrive%20-%20ING\Desktop\Teaching\Interest%20rate%20risk\ssm.pr171009_slides.hu.pdf" TargetMode="External"/><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hyperlink" Target="file:///C:\Users\GG71CD\OneDrive%20-%20ING\Desktop\Teaching\Interest%20rate%20risk\ssm.pr171009_slides.hu.pdf" TargetMode="External"/><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6.xml"/><Relationship Id="rId4" Type="http://schemas.openxmlformats.org/officeDocument/2006/relationships/image" Target="../media/image9.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hyperlink" Target="https://cbr.ru/hd_base/zcyc_params/" TargetMode="External"/><Relationship Id="rId2" Type="http://schemas.openxmlformats.org/officeDocument/2006/relationships/image" Target="../media/image44.png"/><Relationship Id="rId1" Type="http://schemas.openxmlformats.org/officeDocument/2006/relationships/slideLayout" Target="../slideLayouts/slideLayout22.xml"/><Relationship Id="rId6" Type="http://schemas.openxmlformats.org/officeDocument/2006/relationships/chart" Target="../charts/chart2.xml"/><Relationship Id="rId5" Type="http://schemas.openxmlformats.org/officeDocument/2006/relationships/image" Target="../media/image45.png"/><Relationship Id="rId4" Type="http://schemas.openxmlformats.org/officeDocument/2006/relationships/hyperlink" Target="https://smart-lab.ru/q/ofz/" TargetMode="External"/></Relationships>
</file>

<file path=ppt/slides/_rels/slide40.xml.rels><?xml version="1.0" encoding="UTF-8" standalone="yes"?>
<Relationships xmlns="http://schemas.openxmlformats.org/package/2006/relationships"><Relationship Id="rId2" Type="http://schemas.openxmlformats.org/officeDocument/2006/relationships/hyperlink" Target="https://www.investopedia.com/terms/r/revenuegeneratingunit.asp" TargetMode="Externa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22.xml"/></Relationships>
</file>

<file path=ppt/slides/_rels/slide44.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22.xml"/></Relationships>
</file>

<file path=ppt/slides/_rels/slide46.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22.xml"/><Relationship Id="rId4" Type="http://schemas.openxmlformats.org/officeDocument/2006/relationships/chart" Target="../charts/chart20.xml"/></Relationships>
</file>

<file path=ppt/slides/_rels/slide48.xml.rels><?xml version="1.0" encoding="UTF-8" standalone="yes"?>
<Relationships xmlns="http://schemas.openxmlformats.org/package/2006/relationships"><Relationship Id="rId2" Type="http://schemas.openxmlformats.org/officeDocument/2006/relationships/hyperlink" Target="https://cbr.ru/hd_base/zcyc_params/" TargetMode="External"/><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2.xml"/></Relationships>
</file>

<file path=ppt/slides/_rels/slide50.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hyperlink" Target="https://www.r-bloggers.com/2021/06/hull-white-1-factor-model-using-r-code/" TargetMode="External"/><Relationship Id="rId2" Type="http://schemas.openxmlformats.org/officeDocument/2006/relationships/image" Target="../media/image47.png"/><Relationship Id="rId1" Type="http://schemas.openxmlformats.org/officeDocument/2006/relationships/slideLayout" Target="../slideLayouts/slideLayout22.xml"/><Relationship Id="rId4" Type="http://schemas.openxmlformats.org/officeDocument/2006/relationships/image" Target="../media/image48.png"/></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5.xml"/><Relationship Id="rId4"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extLst>
              <p:ext uri="{D42A27DB-BD31-4B8C-83A1-F6EECF244321}">
                <p14:modId xmlns:p14="http://schemas.microsoft.com/office/powerpoint/2010/main" val="3999203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5.1 Introduction</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1</a:t>
            </a:fld>
            <a:endParaRPr lang="en-US" dirty="0"/>
          </a:p>
        </p:txBody>
      </p:sp>
      <p:sp>
        <p:nvSpPr>
          <p:cNvPr id="7" name="Заголовок 1"/>
          <p:cNvSpPr txBox="1">
            <a:spLocks/>
          </p:cNvSpPr>
          <p:nvPr/>
        </p:nvSpPr>
        <p:spPr>
          <a:xfrm>
            <a:off x="672305" y="2648390"/>
            <a:ext cx="9144000" cy="156121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Interest rates level - general introduction (interest accruals, key rate, treasury yields)</a:t>
            </a:r>
            <a:endParaRPr lang="ru-RU" sz="3000" dirty="0">
              <a:latin typeface="SB Sans Display" panose="020B0503040504020204" pitchFamily="34" charset="0"/>
              <a:cs typeface="SB Sans Display" panose="020B0503040504020204" pitchFamily="34" charset="0"/>
            </a:endParaRPr>
          </a:p>
        </p:txBody>
      </p:sp>
    </p:spTree>
    <p:extLst>
      <p:ext uri="{BB962C8B-B14F-4D97-AF65-F5344CB8AC3E}">
        <p14:creationId xmlns:p14="http://schemas.microsoft.com/office/powerpoint/2010/main" val="11500825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0</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Main function of the bank is the transformation of risks</a:t>
            </a:r>
          </a:p>
        </p:txBody>
      </p:sp>
      <p:graphicFrame>
        <p:nvGraphicFramePr>
          <p:cNvPr id="10" name="Table 10">
            <a:extLst>
              <a:ext uri="{FF2B5EF4-FFF2-40B4-BE49-F238E27FC236}">
                <a16:creationId xmlns:a16="http://schemas.microsoft.com/office/drawing/2014/main" id="{F799FB87-71A8-0786-84B3-05F40CAC31D7}"/>
              </a:ext>
            </a:extLst>
          </p:cNvPr>
          <p:cNvGraphicFramePr>
            <a:graphicFrameLocks noGrp="1"/>
          </p:cNvGraphicFramePr>
          <p:nvPr>
            <p:extLst>
              <p:ext uri="{D42A27DB-BD31-4B8C-83A1-F6EECF244321}">
                <p14:modId xmlns:p14="http://schemas.microsoft.com/office/powerpoint/2010/main" val="123977340"/>
              </p:ext>
            </p:extLst>
          </p:nvPr>
        </p:nvGraphicFramePr>
        <p:xfrm>
          <a:off x="595223" y="926959"/>
          <a:ext cx="10874981" cy="3749040"/>
        </p:xfrm>
        <a:graphic>
          <a:graphicData uri="http://schemas.openxmlformats.org/drawingml/2006/table">
            <a:tbl>
              <a:tblPr firstRow="1" bandRow="1">
                <a:tableStyleId>{5C22544A-7EE6-4342-B048-85BDC9FD1C3A}</a:tableStyleId>
              </a:tblPr>
              <a:tblGrid>
                <a:gridCol w="2155785">
                  <a:extLst>
                    <a:ext uri="{9D8B030D-6E8A-4147-A177-3AD203B41FA5}">
                      <a16:colId xmlns:a16="http://schemas.microsoft.com/office/drawing/2014/main" val="3182015699"/>
                    </a:ext>
                  </a:extLst>
                </a:gridCol>
                <a:gridCol w="6808870">
                  <a:extLst>
                    <a:ext uri="{9D8B030D-6E8A-4147-A177-3AD203B41FA5}">
                      <a16:colId xmlns:a16="http://schemas.microsoft.com/office/drawing/2014/main" val="1756653115"/>
                    </a:ext>
                  </a:extLst>
                </a:gridCol>
                <a:gridCol w="1910326">
                  <a:extLst>
                    <a:ext uri="{9D8B030D-6E8A-4147-A177-3AD203B41FA5}">
                      <a16:colId xmlns:a16="http://schemas.microsoft.com/office/drawing/2014/main" val="3307327811"/>
                    </a:ext>
                  </a:extLst>
                </a:gridCol>
              </a:tblGrid>
              <a:tr h="31489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latin typeface="Arial" panose="020B0604020202020204" pitchFamily="34" charset="0"/>
                          <a:cs typeface="Arial" panose="020B0604020202020204" pitchFamily="34" charset="0"/>
                        </a:rPr>
                        <a:t>Main types of transform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dirty="0">
                          <a:solidFill>
                            <a:schemeClr val="tx1"/>
                          </a:solidFill>
                          <a:latin typeface="Arial" panose="020B0604020202020204" pitchFamily="34" charset="0"/>
                          <a:cs typeface="Arial" panose="020B0604020202020204" pitchFamily="34" charset="0"/>
                        </a:rPr>
                        <a:t>Mean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dirty="0">
                          <a:solidFill>
                            <a:schemeClr val="tx1"/>
                          </a:solidFill>
                          <a:latin typeface="Arial" panose="020B0604020202020204" pitchFamily="34" charset="0"/>
                          <a:cs typeface="Arial" panose="020B0604020202020204" pitchFamily="34" charset="0"/>
                        </a:rPr>
                        <a:t>Types of risks involv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23910000"/>
                  </a:ext>
                </a:extLst>
              </a:tr>
              <a:tr h="338492">
                <a:tc>
                  <a:txBody>
                    <a:bodyPr/>
                    <a:lstStyle/>
                    <a:p>
                      <a:r>
                        <a:rPr lang="en-GB" dirty="0">
                          <a:solidFill>
                            <a:schemeClr val="tx1"/>
                          </a:solidFill>
                          <a:latin typeface="Arial" panose="020B0604020202020204" pitchFamily="34" charset="0"/>
                          <a:cs typeface="Arial" panose="020B0604020202020204" pitchFamily="34" charset="0"/>
                        </a:rPr>
                        <a:t>Transformation of sca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800" b="0" i="0" kern="1200" dirty="0">
                          <a:solidFill>
                            <a:schemeClr val="tx1"/>
                          </a:solidFill>
                          <a:effectLst/>
                          <a:latin typeface="Arial" panose="020B0604020202020204" pitchFamily="34" charset="0"/>
                          <a:ea typeface="+mn-ea"/>
                          <a:cs typeface="Arial" panose="020B0604020202020204" pitchFamily="34" charset="0"/>
                        </a:rPr>
                        <a:t>A bank can combine 1000 savings accounts with a balance of 100 and use as funding for a mortgage loan of 100,000 dolla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dirty="0">
                          <a:solidFill>
                            <a:schemeClr val="tx1"/>
                          </a:solidFill>
                          <a:latin typeface="Arial" panose="020B0604020202020204" pitchFamily="34" charset="0"/>
                          <a:cs typeface="Arial" panose="020B0604020202020204" pitchFamily="34" charset="0"/>
                        </a:rPr>
                        <a:t>Liquidity ris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6633680"/>
                  </a:ext>
                </a:extLst>
              </a:tr>
              <a:tr h="5848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latin typeface="Arial" panose="020B0604020202020204" pitchFamily="34" charset="0"/>
                          <a:cs typeface="Arial" panose="020B0604020202020204" pitchFamily="34" charset="0"/>
                        </a:rPr>
                        <a:t>Transformation of availabil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800" b="0" i="0" kern="1200" dirty="0">
                          <a:solidFill>
                            <a:schemeClr val="tx1"/>
                          </a:solidFill>
                          <a:effectLst/>
                          <a:latin typeface="Arial" panose="020B0604020202020204" pitchFamily="34" charset="0"/>
                          <a:ea typeface="+mn-ea"/>
                          <a:cs typeface="Arial" panose="020B0604020202020204" pitchFamily="34" charset="0"/>
                        </a:rPr>
                        <a:t>If you go to a bank and want to deposit some money there, you expect them to always accept it. </a:t>
                      </a:r>
                    </a:p>
                    <a:p>
                      <a:r>
                        <a:rPr lang="en-GB" sz="1800" b="0" i="0" kern="1200" dirty="0">
                          <a:solidFill>
                            <a:schemeClr val="tx1"/>
                          </a:solidFill>
                          <a:effectLst/>
                          <a:latin typeface="Arial" panose="020B0604020202020204" pitchFamily="34" charset="0"/>
                          <a:ea typeface="+mn-ea"/>
                          <a:cs typeface="Arial" panose="020B0604020202020204" pitchFamily="34" charset="0"/>
                        </a:rPr>
                        <a:t>Likewise, if you go to an ATM (Automatic Teller Machine) to get some cash, you expect to receive i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dirty="0">
                          <a:solidFill>
                            <a:schemeClr val="tx1"/>
                          </a:solidFill>
                          <a:latin typeface="Arial" panose="020B0604020202020204" pitchFamily="34" charset="0"/>
                          <a:cs typeface="Arial" panose="020B0604020202020204" pitchFamily="34" charset="0"/>
                        </a:rPr>
                        <a:t>Liquidity ris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9231899"/>
                  </a:ext>
                </a:extLst>
              </a:tr>
              <a:tr h="314899">
                <a:tc>
                  <a:txBody>
                    <a:bodyPr/>
                    <a:lstStyle/>
                    <a:p>
                      <a:r>
                        <a:rPr lang="en-GB" dirty="0">
                          <a:solidFill>
                            <a:schemeClr val="tx1"/>
                          </a:solidFill>
                          <a:latin typeface="Arial" panose="020B0604020202020204" pitchFamily="34" charset="0"/>
                          <a:cs typeface="Arial" panose="020B0604020202020204" pitchFamily="34" charset="0"/>
                        </a:rPr>
                        <a:t>Transformation of credit ris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b="1" dirty="0">
                          <a:solidFill>
                            <a:schemeClr val="tx1"/>
                          </a:solidFill>
                          <a:latin typeface="Arial" panose="020B0604020202020204" pitchFamily="34" charset="0"/>
                          <a:cs typeface="Arial" panose="020B0604020202020204" pitchFamily="34" charset="0"/>
                        </a:rPr>
                        <a:t>Some</a:t>
                      </a:r>
                      <a:r>
                        <a:rPr lang="en-GB" dirty="0">
                          <a:solidFill>
                            <a:schemeClr val="tx1"/>
                          </a:solidFill>
                          <a:latin typeface="Arial" panose="020B0604020202020204" pitchFamily="34" charset="0"/>
                          <a:cs typeface="Arial" panose="020B0604020202020204" pitchFamily="34" charset="0"/>
                        </a:rPr>
                        <a:t> borrowers may fail to return the loans, at the same time bank obliged to return </a:t>
                      </a:r>
                      <a:r>
                        <a:rPr lang="en-GB" b="1" dirty="0">
                          <a:solidFill>
                            <a:schemeClr val="tx1"/>
                          </a:solidFill>
                          <a:latin typeface="Arial" panose="020B0604020202020204" pitchFamily="34" charset="0"/>
                          <a:cs typeface="Arial" panose="020B0604020202020204" pitchFamily="34" charset="0"/>
                        </a:rPr>
                        <a:t>all</a:t>
                      </a:r>
                      <a:r>
                        <a:rPr lang="en-GB" dirty="0">
                          <a:solidFill>
                            <a:schemeClr val="tx1"/>
                          </a:solidFill>
                          <a:latin typeface="Arial" panose="020B0604020202020204" pitchFamily="34" charset="0"/>
                          <a:cs typeface="Arial" panose="020B0604020202020204" pitchFamily="34" charset="0"/>
                        </a:rPr>
                        <a:t> customer accou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dirty="0">
                          <a:solidFill>
                            <a:schemeClr val="tx1"/>
                          </a:solidFill>
                          <a:latin typeface="Arial" panose="020B0604020202020204" pitchFamily="34" charset="0"/>
                          <a:cs typeface="Arial" panose="020B0604020202020204" pitchFamily="34" charset="0"/>
                        </a:rPr>
                        <a:t>Credit ris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0406059"/>
                  </a:ext>
                </a:extLst>
              </a:tr>
              <a:tr h="3148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tx1"/>
                          </a:solidFill>
                          <a:latin typeface="Arial" panose="020B0604020202020204" pitchFamily="34" charset="0"/>
                          <a:cs typeface="Arial" panose="020B0604020202020204" pitchFamily="34" charset="0"/>
                        </a:rPr>
                        <a:t>Transformation of dur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1800" b="0" i="0" kern="1200" dirty="0">
                          <a:solidFill>
                            <a:schemeClr val="tx1"/>
                          </a:solidFill>
                          <a:effectLst/>
                          <a:latin typeface="Arial" panose="020B0604020202020204" pitchFamily="34" charset="0"/>
                          <a:ea typeface="+mn-ea"/>
                          <a:cs typeface="Arial" panose="020B0604020202020204" pitchFamily="34" charset="0"/>
                        </a:rPr>
                        <a:t>Loans tend to be long-term (up to 20-30 years for mortgages), whilst customer accounts are much shorter</a:t>
                      </a:r>
                      <a:endParaRPr lang="en-GB"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dirty="0">
                          <a:solidFill>
                            <a:schemeClr val="tx1"/>
                          </a:solidFill>
                          <a:latin typeface="Arial" panose="020B0604020202020204" pitchFamily="34" charset="0"/>
                          <a:cs typeface="Arial" panose="020B0604020202020204" pitchFamily="34" charset="0"/>
                        </a:rPr>
                        <a:t>Interest rate risk</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2942456"/>
                  </a:ext>
                </a:extLst>
              </a:tr>
            </a:tbl>
          </a:graphicData>
        </a:graphic>
      </p:graphicFrame>
      <p:sp>
        <p:nvSpPr>
          <p:cNvPr id="12" name="TextBox 11">
            <a:extLst>
              <a:ext uri="{FF2B5EF4-FFF2-40B4-BE49-F238E27FC236}">
                <a16:creationId xmlns:a16="http://schemas.microsoft.com/office/drawing/2014/main" id="{4ABBE54D-8A90-BA15-98B7-39AD7786B519}"/>
              </a:ext>
            </a:extLst>
          </p:cNvPr>
          <p:cNvSpPr txBox="1"/>
          <p:nvPr/>
        </p:nvSpPr>
        <p:spPr>
          <a:xfrm>
            <a:off x="334723" y="6327325"/>
            <a:ext cx="6094562" cy="461665"/>
          </a:xfrm>
          <a:prstGeom prst="rect">
            <a:avLst/>
          </a:prstGeom>
          <a:noFill/>
        </p:spPr>
        <p:txBody>
          <a:bodyPr wrap="square">
            <a:spAutoFit/>
          </a:bodyPr>
          <a:lstStyle/>
          <a:p>
            <a:r>
              <a:rPr lang="en-GB" sz="1200" dirty="0"/>
              <a:t>* Non irrefragable list of types of transformations</a:t>
            </a:r>
          </a:p>
          <a:p>
            <a:r>
              <a:rPr lang="en-GB" sz="1200" dirty="0"/>
              <a:t> </a:t>
            </a:r>
            <a:r>
              <a:rPr lang="en-GB" sz="1200" dirty="0">
                <a:hlinkClick r:id="rId3"/>
              </a:rPr>
              <a:t>https://rudhar.com/economi/monydebt/en/005bnkfn.htm</a:t>
            </a:r>
            <a:r>
              <a:rPr lang="en-GB" sz="1200" dirty="0"/>
              <a:t> </a:t>
            </a:r>
          </a:p>
        </p:txBody>
      </p:sp>
      <p:sp>
        <p:nvSpPr>
          <p:cNvPr id="13" name="TextBox 12">
            <a:extLst>
              <a:ext uri="{FF2B5EF4-FFF2-40B4-BE49-F238E27FC236}">
                <a16:creationId xmlns:a16="http://schemas.microsoft.com/office/drawing/2014/main" id="{D0F5E880-23A1-0B1F-8822-6311867CBE2F}"/>
              </a:ext>
            </a:extLst>
          </p:cNvPr>
          <p:cNvSpPr txBox="1"/>
          <p:nvPr/>
        </p:nvSpPr>
        <p:spPr>
          <a:xfrm>
            <a:off x="595223" y="5072331"/>
            <a:ext cx="10874982" cy="858709"/>
          </a:xfrm>
          <a:prstGeom prst="rect">
            <a:avLst/>
          </a:prstGeom>
          <a:noFill/>
          <a:ln w="25400">
            <a:solidFill>
              <a:srgbClr val="FF0000"/>
            </a:solidFill>
          </a:ln>
        </p:spPr>
        <p:txBody>
          <a:bodyPr wrap="square" rtlCol="0" anchor="ctr">
            <a:noAutofit/>
          </a:bodyPr>
          <a:lstStyle/>
          <a:p>
            <a:r>
              <a:rPr lang="en-GB" sz="2500" dirty="0">
                <a:latin typeface="Arial" panose="020B0604020202020204" pitchFamily="34" charset="0"/>
                <a:cs typeface="Arial" panose="020B0604020202020204" pitchFamily="34" charset="0"/>
              </a:rPr>
              <a:t>Banks have to include each type of transformation in the product’s price.</a:t>
            </a:r>
          </a:p>
        </p:txBody>
      </p:sp>
      <p:pic>
        <p:nvPicPr>
          <p:cNvPr id="4" name="Picture 3">
            <a:extLst>
              <a:ext uri="{FF2B5EF4-FFF2-40B4-BE49-F238E27FC236}">
                <a16:creationId xmlns:a16="http://schemas.microsoft.com/office/drawing/2014/main" id="{0619EBE1-0113-276A-8017-1672F93BFF8E}"/>
              </a:ext>
            </a:extLst>
          </p:cNvPr>
          <p:cNvPicPr>
            <a:picLocks noChangeAspect="1"/>
          </p:cNvPicPr>
          <p:nvPr/>
        </p:nvPicPr>
        <p:blipFill>
          <a:blip r:embed="rId4"/>
          <a:stretch>
            <a:fillRect/>
          </a:stretch>
        </p:blipFill>
        <p:spPr>
          <a:xfrm>
            <a:off x="9587884" y="833380"/>
            <a:ext cx="2175030" cy="4095750"/>
          </a:xfrm>
          <a:prstGeom prst="rect">
            <a:avLst/>
          </a:prstGeom>
        </p:spPr>
      </p:pic>
    </p:spTree>
    <p:extLst>
      <p:ext uri="{BB962C8B-B14F-4D97-AF65-F5344CB8AC3E}">
        <p14:creationId xmlns:p14="http://schemas.microsoft.com/office/powerpoint/2010/main" val="1937308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1</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Business model of</a:t>
            </a:r>
            <a:r>
              <a:rPr lang="ru-RU"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banks in 1950-1960 </a:t>
            </a:r>
          </a:p>
        </p:txBody>
      </p:sp>
      <p:sp>
        <p:nvSpPr>
          <p:cNvPr id="3" name="TextBox 2"/>
          <p:cNvSpPr txBox="1"/>
          <p:nvPr/>
        </p:nvSpPr>
        <p:spPr>
          <a:xfrm>
            <a:off x="499808" y="1628800"/>
            <a:ext cx="5663837" cy="1246495"/>
          </a:xfrm>
          <a:prstGeom prst="rect">
            <a:avLst/>
          </a:prstGeom>
          <a:noFill/>
        </p:spPr>
        <p:txBody>
          <a:bodyPr wrap="square" rtlCol="0">
            <a:spAutoFit/>
          </a:bodyPr>
          <a:lstStyle/>
          <a:p>
            <a:pPr marL="285750" indent="-285750">
              <a:buFont typeface="Arial" panose="020B0604020202020204" pitchFamily="34" charset="0"/>
              <a:buChar char="•"/>
            </a:pPr>
            <a:r>
              <a:rPr lang="en-US" sz="2500" dirty="0">
                <a:latin typeface="Arial" panose="020B0604020202020204" pitchFamily="34" charset="0"/>
                <a:cs typeface="Arial" panose="020B0604020202020204" pitchFamily="34" charset="0"/>
              </a:rPr>
              <a:t>3% = &gt; interest rates on deposits</a:t>
            </a:r>
          </a:p>
          <a:p>
            <a:pPr marL="285750" indent="-285750">
              <a:buFont typeface="Arial" panose="020B0604020202020204" pitchFamily="34" charset="0"/>
              <a:buChar char="•"/>
            </a:pPr>
            <a:r>
              <a:rPr lang="en-US" sz="2500" dirty="0">
                <a:latin typeface="Arial" panose="020B0604020202020204" pitchFamily="34" charset="0"/>
                <a:cs typeface="Arial" panose="020B0604020202020204" pitchFamily="34" charset="0"/>
              </a:rPr>
              <a:t>6% = &gt; interest rates on loans</a:t>
            </a:r>
          </a:p>
          <a:p>
            <a:pPr marL="285750" indent="-285750">
              <a:buFont typeface="Arial" panose="020B0604020202020204" pitchFamily="34" charset="0"/>
              <a:buChar char="•"/>
            </a:pPr>
            <a:r>
              <a:rPr lang="en-US" sz="2500" dirty="0">
                <a:latin typeface="Arial" panose="020B0604020202020204" pitchFamily="34" charset="0"/>
                <a:cs typeface="Arial" panose="020B0604020202020204" pitchFamily="34" charset="0"/>
              </a:rPr>
              <a:t>At 3 p.m. = &gt; golf</a:t>
            </a:r>
          </a:p>
        </p:txBody>
      </p:sp>
      <p:sp>
        <p:nvSpPr>
          <p:cNvPr id="9" name="Стрелка вправо 8"/>
          <p:cNvSpPr/>
          <p:nvPr/>
        </p:nvSpPr>
        <p:spPr>
          <a:xfrm>
            <a:off x="6246925" y="3041289"/>
            <a:ext cx="640080" cy="568960"/>
          </a:xfrm>
          <a:prstGeom prs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 name="TextBox 5">
            <a:extLst>
              <a:ext uri="{FF2B5EF4-FFF2-40B4-BE49-F238E27FC236}">
                <a16:creationId xmlns:a16="http://schemas.microsoft.com/office/drawing/2014/main" id="{F4B66E85-6A3E-43BF-52DF-038A5D35E671}"/>
              </a:ext>
            </a:extLst>
          </p:cNvPr>
          <p:cNvSpPr txBox="1"/>
          <p:nvPr/>
        </p:nvSpPr>
        <p:spPr>
          <a:xfrm>
            <a:off x="501016" y="1066569"/>
            <a:ext cx="6094562" cy="477054"/>
          </a:xfrm>
          <a:prstGeom prst="rect">
            <a:avLst/>
          </a:prstGeom>
          <a:noFill/>
        </p:spPr>
        <p:txBody>
          <a:bodyPr wrap="square">
            <a:spAutoFit/>
          </a:bodyPr>
          <a:lstStyle/>
          <a:p>
            <a:r>
              <a:rPr lang="en-US" sz="2500" b="1" dirty="0">
                <a:latin typeface="Arial" panose="020B0604020202020204" pitchFamily="34" charset="0"/>
                <a:cs typeface="Arial" panose="020B0604020202020204" pitchFamily="34" charset="0"/>
              </a:rPr>
              <a:t>Rule 3 – 6 – 3:</a:t>
            </a:r>
          </a:p>
        </p:txBody>
      </p:sp>
      <p:graphicFrame>
        <p:nvGraphicFramePr>
          <p:cNvPr id="10" name="Chart 9">
            <a:extLst>
              <a:ext uri="{FF2B5EF4-FFF2-40B4-BE49-F238E27FC236}">
                <a16:creationId xmlns:a16="http://schemas.microsoft.com/office/drawing/2014/main" id="{C1650B40-7C97-475C-93CC-E7F2AD0C6074}"/>
              </a:ext>
            </a:extLst>
          </p:cNvPr>
          <p:cNvGraphicFramePr>
            <a:graphicFrameLocks/>
          </p:cNvGraphicFramePr>
          <p:nvPr>
            <p:extLst>
              <p:ext uri="{D42A27DB-BD31-4B8C-83A1-F6EECF244321}">
                <p14:modId xmlns:p14="http://schemas.microsoft.com/office/powerpoint/2010/main" val="2166932046"/>
              </p:ext>
            </p:extLst>
          </p:nvPr>
        </p:nvGraphicFramePr>
        <p:xfrm>
          <a:off x="7048870" y="1438183"/>
          <a:ext cx="4643322" cy="4225769"/>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6D4CA871-D773-1923-93F4-200B8F534473}"/>
              </a:ext>
            </a:extLst>
          </p:cNvPr>
          <p:cNvSpPr txBox="1"/>
          <p:nvPr/>
        </p:nvSpPr>
        <p:spPr>
          <a:xfrm>
            <a:off x="511738" y="3075251"/>
            <a:ext cx="5651907" cy="2400657"/>
          </a:xfrm>
          <a:prstGeom prst="rect">
            <a:avLst/>
          </a:prstGeom>
          <a:noFill/>
        </p:spPr>
        <p:txBody>
          <a:bodyPr wrap="square">
            <a:spAutoFit/>
          </a:bodyPr>
          <a:lstStyle/>
          <a:p>
            <a:r>
              <a:rPr lang="en-US" sz="2500" dirty="0">
                <a:latin typeface="Arial" panose="020B0604020202020204" pitchFamily="34" charset="0"/>
                <a:cs typeface="Arial" panose="020B0604020202020204" pitchFamily="34" charset="0"/>
              </a:rPr>
              <a:t>During the 1979-1980 crisis in the USA interest rates soared, and liabilities repriced much faster than assets:</a:t>
            </a:r>
          </a:p>
          <a:p>
            <a:endParaRPr lang="en-US" sz="25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Interest rates raised on 15 p.p.</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Losses of banking system ~ 1 </a:t>
            </a:r>
            <a:r>
              <a:rPr lang="en-US" sz="2500" dirty="0" err="1">
                <a:latin typeface="Arial" panose="020B0604020202020204" pitchFamily="34" charset="0"/>
                <a:cs typeface="Arial" panose="020B0604020202020204" pitchFamily="34" charset="0"/>
              </a:rPr>
              <a:t>trln</a:t>
            </a:r>
            <a:r>
              <a:rPr lang="en-US" sz="25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826615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animBg="1"/>
      <p:bldGraphic spid="10" grpId="0">
        <p:bldAsOne/>
      </p:bldGraphic>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2</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Transformation of duration</a:t>
            </a:r>
          </a:p>
        </p:txBody>
      </p:sp>
      <p:sp>
        <p:nvSpPr>
          <p:cNvPr id="6" name="TextBox 5">
            <a:extLst>
              <a:ext uri="{FF2B5EF4-FFF2-40B4-BE49-F238E27FC236}">
                <a16:creationId xmlns:a16="http://schemas.microsoft.com/office/drawing/2014/main" id="{CA023485-E4D0-17B0-F130-39357FD06C63}"/>
              </a:ext>
            </a:extLst>
          </p:cNvPr>
          <p:cNvSpPr txBox="1"/>
          <p:nvPr/>
        </p:nvSpPr>
        <p:spPr>
          <a:xfrm>
            <a:off x="381959" y="870766"/>
            <a:ext cx="5205440" cy="5632311"/>
          </a:xfrm>
          <a:prstGeom prst="rect">
            <a:avLst/>
          </a:prstGeom>
          <a:noFill/>
        </p:spPr>
        <p:txBody>
          <a:bodyPr wrap="square" rtlCol="0">
            <a:spAutoFit/>
          </a:bodyPr>
          <a:lstStyle/>
          <a:p>
            <a:r>
              <a:rPr lang="en-GB" sz="2000" dirty="0">
                <a:latin typeface="Arial" panose="020B0604020202020204" pitchFamily="34" charset="0"/>
                <a:cs typeface="Arial" panose="020B0604020202020204" pitchFamily="34" charset="0"/>
              </a:rPr>
              <a:t>The average term of liability</a:t>
            </a:r>
            <a:r>
              <a:rPr lang="ru-RU" sz="2000" b="0" i="0" dirty="0">
                <a:effectLst/>
                <a:latin typeface="Arial" panose="020B0604020202020204" pitchFamily="34" charset="0"/>
                <a:cs typeface="Arial" panose="020B0604020202020204" pitchFamily="34" charset="0"/>
              </a:rPr>
              <a:t> </a:t>
            </a:r>
            <a:r>
              <a:rPr lang="en-GB" sz="2000" b="0" i="0" dirty="0">
                <a:effectLst/>
                <a:latin typeface="Arial" panose="020B0604020202020204" pitchFamily="34" charset="0"/>
                <a:cs typeface="Arial" panose="020B0604020202020204" pitchFamily="34" charset="0"/>
              </a:rPr>
              <a:t>is </a:t>
            </a:r>
            <a:r>
              <a:rPr lang="ru-RU" sz="2000" b="0" i="0" dirty="0">
                <a:effectLst/>
                <a:latin typeface="Arial" panose="020B0604020202020204" pitchFamily="34" charset="0"/>
                <a:cs typeface="Arial" panose="020B0604020202020204" pitchFamily="34" charset="0"/>
              </a:rPr>
              <a:t>1 </a:t>
            </a:r>
            <a:r>
              <a:rPr lang="en-GB" sz="2000" dirty="0">
                <a:latin typeface="Arial" panose="020B0604020202020204" pitchFamily="34" charset="0"/>
                <a:cs typeface="Arial" panose="020B0604020202020204" pitchFamily="34" charset="0"/>
              </a:rPr>
              <a:t>year, and it may drastically decrease due to crisis (clients withdraw</a:t>
            </a:r>
            <a:r>
              <a:rPr lang="ru-RU" sz="2000" dirty="0">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current accounts or deposits ahead of schedule)</a:t>
            </a:r>
          </a:p>
          <a:p>
            <a:r>
              <a:rPr lang="en-GB" sz="2000" dirty="0">
                <a:latin typeface="Arial" panose="020B0604020202020204" pitchFamily="34" charset="0"/>
                <a:cs typeface="Arial" panose="020B0604020202020204" pitchFamily="34" charset="0"/>
              </a:rPr>
              <a:t>The average term of the asset is 5 years (from 3 to 30 years)</a:t>
            </a:r>
          </a:p>
          <a:p>
            <a:endParaRPr lang="en-GB" sz="2000" dirty="0">
              <a:latin typeface="Arial" panose="020B0604020202020204" pitchFamily="34" charset="0"/>
              <a:cs typeface="Arial" panose="020B0604020202020204" pitchFamily="34" charset="0"/>
            </a:endParaRPr>
          </a:p>
          <a:p>
            <a:endParaRPr lang="en-GB" sz="2000" dirty="0">
              <a:latin typeface="Arial" panose="020B0604020202020204" pitchFamily="34" charset="0"/>
              <a:cs typeface="Arial" panose="020B0604020202020204" pitchFamily="34" charset="0"/>
            </a:endParaRPr>
          </a:p>
          <a:p>
            <a:r>
              <a:rPr lang="en-GB" sz="2000" dirty="0">
                <a:latin typeface="Arial" panose="020B0604020202020204" pitchFamily="34" charset="0"/>
                <a:cs typeface="Arial" panose="020B0604020202020204" pitchFamily="34" charset="0"/>
              </a:rPr>
              <a:t>If the interest rate curve is normal, the bank will have a positive interest margin</a:t>
            </a:r>
            <a:r>
              <a:rPr lang="ru-RU" sz="2000" dirty="0">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this year =&gt; </a:t>
            </a:r>
            <a:r>
              <a:rPr lang="ru-RU" sz="2000" dirty="0">
                <a:solidFill>
                  <a:srgbClr val="00B050"/>
                </a:solidFill>
                <a:latin typeface="Arial" panose="020B0604020202020204" pitchFamily="34" charset="0"/>
                <a:cs typeface="Arial" panose="020B0604020202020204" pitchFamily="34" charset="0"/>
              </a:rPr>
              <a:t>100*</a:t>
            </a:r>
            <a:r>
              <a:rPr lang="en-GB" sz="2000" dirty="0">
                <a:solidFill>
                  <a:srgbClr val="00B050"/>
                </a:solidFill>
                <a:latin typeface="Arial" panose="020B0604020202020204" pitchFamily="34" charset="0"/>
                <a:cs typeface="Arial" panose="020B0604020202020204" pitchFamily="34" charset="0"/>
              </a:rPr>
              <a:t>6.2%-100*5.3% = 0.9</a:t>
            </a:r>
          </a:p>
          <a:p>
            <a:pPr marL="285750" indent="-285750">
              <a:buFont typeface="Arial" panose="020B0604020202020204" pitchFamily="34" charset="0"/>
              <a:buChar char="•"/>
            </a:pPr>
            <a:endParaRPr lang="en-GB" sz="2000" dirty="0">
              <a:solidFill>
                <a:srgbClr val="00B050"/>
              </a:solidFill>
              <a:latin typeface="Arial" panose="020B0604020202020204" pitchFamily="34" charset="0"/>
              <a:cs typeface="Arial" panose="020B0604020202020204" pitchFamily="34" charset="0"/>
            </a:endParaRPr>
          </a:p>
          <a:p>
            <a:r>
              <a:rPr lang="en-GB" sz="2000" dirty="0">
                <a:latin typeface="Arial" panose="020B0604020202020204" pitchFamily="34" charset="0"/>
                <a:cs typeface="Arial" panose="020B0604020202020204" pitchFamily="34" charset="0"/>
              </a:rPr>
              <a:t>But</a:t>
            </a:r>
          </a:p>
          <a:p>
            <a:pPr marL="285750" indent="-285750">
              <a:buFont typeface="Arial" panose="020B0604020202020204" pitchFamily="34" charset="0"/>
              <a:buChar char="•"/>
            </a:pPr>
            <a:endParaRPr lang="ru-RU" sz="2000" dirty="0">
              <a:solidFill>
                <a:srgbClr val="00B050"/>
              </a:solidFill>
              <a:latin typeface="Arial" panose="020B0604020202020204" pitchFamily="34" charset="0"/>
              <a:cs typeface="Arial" panose="020B0604020202020204" pitchFamily="34" charset="0"/>
            </a:endParaRPr>
          </a:p>
          <a:p>
            <a:r>
              <a:rPr lang="en-GB" sz="2000" dirty="0">
                <a:latin typeface="Arial" panose="020B0604020202020204" pitchFamily="34" charset="0"/>
                <a:cs typeface="Arial" panose="020B0604020202020204" pitchFamily="34" charset="0"/>
              </a:rPr>
              <a:t>If the interest rate curve is inverse, the bank will have a negative interest margin</a:t>
            </a:r>
            <a:r>
              <a:rPr lang="ru-RU" sz="2000" dirty="0">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this year =&gt; </a:t>
            </a:r>
            <a:r>
              <a:rPr lang="ru-RU" sz="2000" dirty="0">
                <a:solidFill>
                  <a:srgbClr val="FF0000"/>
                </a:solidFill>
                <a:latin typeface="Arial" panose="020B0604020202020204" pitchFamily="34" charset="0"/>
                <a:cs typeface="Arial" panose="020B0604020202020204" pitchFamily="34" charset="0"/>
              </a:rPr>
              <a:t>100*</a:t>
            </a:r>
            <a:r>
              <a:rPr lang="en-GB" sz="2000" dirty="0">
                <a:solidFill>
                  <a:srgbClr val="FF0000"/>
                </a:solidFill>
                <a:latin typeface="Arial" panose="020B0604020202020204" pitchFamily="34" charset="0"/>
                <a:cs typeface="Arial" panose="020B0604020202020204" pitchFamily="34" charset="0"/>
              </a:rPr>
              <a:t>6.2%-100*6.8% = -0.6</a:t>
            </a:r>
            <a:endParaRPr lang="ru-RU" sz="2000" dirty="0">
              <a:solidFill>
                <a:srgbClr val="FF0000"/>
              </a:solidFill>
              <a:latin typeface="Arial" panose="020B0604020202020204" pitchFamily="34" charset="0"/>
              <a:cs typeface="Arial" panose="020B0604020202020204" pitchFamily="34" charset="0"/>
            </a:endParaRPr>
          </a:p>
          <a:p>
            <a:endParaRPr lang="en-GB" sz="2000" dirty="0">
              <a:latin typeface="Arial" panose="020B0604020202020204" pitchFamily="34" charset="0"/>
              <a:cs typeface="Arial" panose="020B0604020202020204" pitchFamily="34" charset="0"/>
            </a:endParaRPr>
          </a:p>
        </p:txBody>
      </p:sp>
      <p:graphicFrame>
        <p:nvGraphicFramePr>
          <p:cNvPr id="14" name="Chart 13">
            <a:extLst>
              <a:ext uri="{FF2B5EF4-FFF2-40B4-BE49-F238E27FC236}">
                <a16:creationId xmlns:a16="http://schemas.microsoft.com/office/drawing/2014/main" id="{C3AE15A4-BE13-59C3-1E96-9113C817F12F}"/>
              </a:ext>
            </a:extLst>
          </p:cNvPr>
          <p:cNvGraphicFramePr>
            <a:graphicFrameLocks/>
          </p:cNvGraphicFramePr>
          <p:nvPr>
            <p:extLst>
              <p:ext uri="{D42A27DB-BD31-4B8C-83A1-F6EECF244321}">
                <p14:modId xmlns:p14="http://schemas.microsoft.com/office/powerpoint/2010/main" val="769051957"/>
              </p:ext>
            </p:extLst>
          </p:nvPr>
        </p:nvGraphicFramePr>
        <p:xfrm>
          <a:off x="5587399" y="893806"/>
          <a:ext cx="5578642" cy="171516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9B1CDB48-BA21-D9B8-3C26-DB76A1581F3E}"/>
              </a:ext>
            </a:extLst>
          </p:cNvPr>
          <p:cNvGraphicFramePr>
            <a:graphicFrameLocks/>
          </p:cNvGraphicFramePr>
          <p:nvPr>
            <p:extLst>
              <p:ext uri="{D42A27DB-BD31-4B8C-83A1-F6EECF244321}">
                <p14:modId xmlns:p14="http://schemas.microsoft.com/office/powerpoint/2010/main" val="2917987708"/>
              </p:ext>
            </p:extLst>
          </p:nvPr>
        </p:nvGraphicFramePr>
        <p:xfrm>
          <a:off x="5722690" y="3220994"/>
          <a:ext cx="5443351"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607135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3</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nterest rate risk (IRR) definition and </a:t>
            </a:r>
            <a:r>
              <a:rPr lang="en-US" sz="2500" b="1" kern="0" dirty="0">
                <a:solidFill>
                  <a:srgbClr val="1F4E79"/>
                </a:solidFill>
                <a:latin typeface="SB Sans Display" panose="020B0503040504020204" pitchFamily="34" charset="0"/>
                <a:ea typeface="等线" panose="02010600030101010101" pitchFamily="2" charset="-122"/>
              </a:rPr>
              <a:t>types</a:t>
            </a:r>
            <a:r>
              <a:rPr lang="ru-RU" sz="2500" b="1" kern="0" baseline="30000" dirty="0">
                <a:solidFill>
                  <a:srgbClr val="1F4E79"/>
                </a:solidFill>
                <a:ea typeface="等线" panose="02010600030101010101" pitchFamily="2" charset="-122"/>
              </a:rPr>
              <a:t>1</a:t>
            </a:r>
            <a:endParaRPr lang="en-US" sz="2500" b="1" kern="0" baseline="30000" dirty="0">
              <a:solidFill>
                <a:srgbClr val="1F4E79"/>
              </a:solidFill>
              <a:latin typeface="SB Sans Display" panose="020B0503040504020204" pitchFamily="34" charset="0"/>
              <a:ea typeface="等线" panose="02010600030101010101" pitchFamily="2" charset="-122"/>
            </a:endParaRPr>
          </a:p>
        </p:txBody>
      </p:sp>
      <p:sp>
        <p:nvSpPr>
          <p:cNvPr id="4" name="TextBox 3">
            <a:extLst>
              <a:ext uri="{FF2B5EF4-FFF2-40B4-BE49-F238E27FC236}">
                <a16:creationId xmlns:a16="http://schemas.microsoft.com/office/drawing/2014/main" id="{E704B17B-2B24-A94D-BEEB-3665EC84CBC2}"/>
              </a:ext>
            </a:extLst>
          </p:cNvPr>
          <p:cNvSpPr txBox="1"/>
          <p:nvPr/>
        </p:nvSpPr>
        <p:spPr>
          <a:xfrm>
            <a:off x="518474" y="817917"/>
            <a:ext cx="6106613" cy="5693866"/>
          </a:xfrm>
          <a:prstGeom prst="rect">
            <a:avLst/>
          </a:prstGeom>
          <a:noFill/>
        </p:spPr>
        <p:txBody>
          <a:bodyPr wrap="square" rtlCol="0">
            <a:spAutoFit/>
          </a:bodyPr>
          <a:lstStyle/>
          <a:p>
            <a:r>
              <a:rPr lang="en-GB" sz="1400" b="1" dirty="0">
                <a:latin typeface="Arial" panose="020B0604020202020204" pitchFamily="34" charset="0"/>
                <a:cs typeface="Arial" panose="020B0604020202020204" pitchFamily="34" charset="0"/>
              </a:rPr>
              <a:t>Definition:</a:t>
            </a:r>
          </a:p>
          <a:p>
            <a:r>
              <a:rPr lang="en-GB" sz="1400" dirty="0">
                <a:latin typeface="Arial" panose="020B0604020202020204" pitchFamily="34" charset="0"/>
                <a:cs typeface="Arial" panose="020B0604020202020204" pitchFamily="34" charset="0"/>
              </a:rPr>
              <a:t>Interest rate risk is the risk that arises for asset and liability structures from fluctuating interest rates.</a:t>
            </a:r>
          </a:p>
          <a:p>
            <a:endParaRPr lang="en-GB" sz="1400" dirty="0">
              <a:latin typeface="Arial" panose="020B0604020202020204" pitchFamily="34" charset="0"/>
              <a:cs typeface="Arial" panose="020B0604020202020204" pitchFamily="34" charset="0"/>
            </a:endParaRPr>
          </a:p>
          <a:p>
            <a:r>
              <a:rPr lang="en-GB" sz="1400" dirty="0">
                <a:latin typeface="Arial" panose="020B0604020202020204" pitchFamily="34" charset="0"/>
                <a:cs typeface="Arial" panose="020B0604020202020204" pitchFamily="34" charset="0"/>
              </a:rPr>
              <a:t>Types of interest rate risk</a:t>
            </a:r>
          </a:p>
          <a:p>
            <a:pPr marL="285750" indent="-285750">
              <a:buFont typeface="Arial" panose="020B0604020202020204" pitchFamily="34" charset="0"/>
              <a:buChar char="•"/>
            </a:pPr>
            <a:endParaRPr lang="en-GB" sz="140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b="1" dirty="0">
                <a:latin typeface="Arial" panose="020B0604020202020204" pitchFamily="34" charset="0"/>
                <a:cs typeface="Arial" panose="020B0604020202020204" pitchFamily="34" charset="0"/>
              </a:rPr>
              <a:t>Gap risk </a:t>
            </a:r>
            <a:r>
              <a:rPr lang="en-GB" sz="1400" dirty="0">
                <a:latin typeface="Arial" panose="020B0604020202020204" pitchFamily="34" charset="0"/>
                <a:cs typeface="Arial" panose="020B0604020202020204" pitchFamily="34" charset="0"/>
              </a:rPr>
              <a:t>arises from the term structure of banking book instruments and describes the risk arising from the timing of instruments’ rate changes</a:t>
            </a:r>
          </a:p>
          <a:p>
            <a:pPr marL="914400" lvl="1" indent="-457200">
              <a:buFont typeface="Wingdings" panose="05000000000000000000" pitchFamily="2" charset="2"/>
              <a:buChar char="ü"/>
            </a:pPr>
            <a:r>
              <a:rPr lang="en-GB" sz="1400" dirty="0">
                <a:latin typeface="Arial" panose="020B0604020202020204" pitchFamily="34" charset="0"/>
                <a:cs typeface="Arial" panose="020B0604020202020204" pitchFamily="34" charset="0"/>
              </a:rPr>
              <a:t>changes to the term structure of interest rates occur consistently across the yield curve </a:t>
            </a:r>
            <a:r>
              <a:rPr lang="en-GB" sz="1400" b="1" dirty="0">
                <a:latin typeface="Arial" panose="020B0604020202020204" pitchFamily="34" charset="0"/>
                <a:cs typeface="Arial" panose="020B0604020202020204" pitchFamily="34" charset="0"/>
              </a:rPr>
              <a:t>(parallel risk)</a:t>
            </a:r>
          </a:p>
          <a:p>
            <a:pPr lvl="1"/>
            <a:r>
              <a:rPr lang="en-GB" sz="1400" dirty="0">
                <a:latin typeface="Arial" panose="020B0604020202020204" pitchFamily="34" charset="0"/>
                <a:cs typeface="Arial" panose="020B0604020202020204" pitchFamily="34" charset="0"/>
              </a:rPr>
              <a:t>or</a:t>
            </a:r>
          </a:p>
          <a:p>
            <a:pPr lvl="1"/>
            <a:endParaRPr lang="en-GB" sz="1400" dirty="0">
              <a:latin typeface="Arial" panose="020B0604020202020204" pitchFamily="34" charset="0"/>
              <a:cs typeface="Arial" panose="020B0604020202020204" pitchFamily="34" charset="0"/>
            </a:endParaRPr>
          </a:p>
          <a:p>
            <a:pPr marL="914400" lvl="1" indent="-457200">
              <a:buFont typeface="Wingdings" panose="05000000000000000000" pitchFamily="2" charset="2"/>
              <a:buChar char="ü"/>
            </a:pPr>
            <a:r>
              <a:rPr lang="en-GB" sz="1400" dirty="0">
                <a:latin typeface="Arial" panose="020B0604020202020204" pitchFamily="34" charset="0"/>
                <a:cs typeface="Arial" panose="020B0604020202020204" pitchFamily="34" charset="0"/>
              </a:rPr>
              <a:t>differentially by period </a:t>
            </a:r>
            <a:r>
              <a:rPr lang="en-GB" sz="1400" b="1" dirty="0">
                <a:latin typeface="Arial" panose="020B0604020202020204" pitchFamily="34" charset="0"/>
                <a:cs typeface="Arial" panose="020B0604020202020204" pitchFamily="34" charset="0"/>
              </a:rPr>
              <a:t>(non-parallel risk)</a:t>
            </a:r>
          </a:p>
          <a:p>
            <a:pPr marL="285750" indent="-285750">
              <a:buFont typeface="Arial" panose="020B0604020202020204" pitchFamily="34" charset="0"/>
              <a:buChar char="•"/>
            </a:pPr>
            <a:endParaRPr lang="en-GB"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b="1" dirty="0">
                <a:latin typeface="Arial" panose="020B0604020202020204" pitchFamily="34" charset="0"/>
                <a:cs typeface="Arial" panose="020B0604020202020204" pitchFamily="34" charset="0"/>
              </a:rPr>
              <a:t>Basis risk</a:t>
            </a:r>
            <a:r>
              <a:rPr lang="ru-RU" sz="1400" b="1"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describes the impact of relative changes in interest rates for financial instruments that have similar tenors but are priced using different interest rate indices. For instance</a:t>
            </a:r>
            <a:r>
              <a:rPr lang="ru-RU" sz="1400" dirty="0">
                <a:latin typeface="Arial" panose="020B0604020202020204" pitchFamily="34" charset="0"/>
                <a:cs typeface="Arial" panose="020B0604020202020204" pitchFamily="34" charset="0"/>
              </a:rPr>
              <a:t>,</a:t>
            </a:r>
            <a:r>
              <a:rPr lang="en-GB" sz="1400" dirty="0">
                <a:latin typeface="Arial" panose="020B0604020202020204" pitchFamily="34" charset="0"/>
                <a:cs typeface="Arial" panose="020B0604020202020204" pitchFamily="34" charset="0"/>
              </a:rPr>
              <a:t> you funded </a:t>
            </a:r>
            <a:r>
              <a:rPr lang="ru-RU" sz="1400" dirty="0">
                <a:latin typeface="Arial" panose="020B0604020202020204" pitchFamily="34" charset="0"/>
                <a:cs typeface="Arial" panose="020B0604020202020204" pitchFamily="34" charset="0"/>
              </a:rPr>
              <a:t>a </a:t>
            </a:r>
            <a:r>
              <a:rPr lang="en-GB" sz="1400" dirty="0">
                <a:latin typeface="Arial" panose="020B0604020202020204" pitchFamily="34" charset="0"/>
                <a:cs typeface="Arial" panose="020B0604020202020204" pitchFamily="34" charset="0"/>
              </a:rPr>
              <a:t>1-year loan (key rate + 3%) with 1-year deposit (</a:t>
            </a:r>
            <a:r>
              <a:rPr lang="en-GB" sz="1400" dirty="0" err="1">
                <a:latin typeface="Arial" panose="020B0604020202020204" pitchFamily="34" charset="0"/>
                <a:cs typeface="Arial" panose="020B0604020202020204" pitchFamily="34" charset="0"/>
              </a:rPr>
              <a:t>mosprime</a:t>
            </a:r>
            <a:r>
              <a:rPr lang="en-GB" sz="1400" dirty="0">
                <a:latin typeface="Arial" panose="020B0604020202020204" pitchFamily="34" charset="0"/>
                <a:cs typeface="Arial" panose="020B0604020202020204" pitchFamily="34" charset="0"/>
              </a:rPr>
              <a:t> 3m - 1%). Basis risk </a:t>
            </a:r>
            <a:r>
              <a:rPr lang="ru-RU" sz="1400" dirty="0" err="1">
                <a:latin typeface="Arial" panose="020B0604020202020204" pitchFamily="34" charset="0"/>
                <a:cs typeface="Arial" panose="020B0604020202020204" pitchFamily="34" charset="0"/>
              </a:rPr>
              <a:t>realizes</a:t>
            </a:r>
            <a:r>
              <a:rPr lang="en-GB" sz="1400" dirty="0">
                <a:latin typeface="Arial" panose="020B0604020202020204" pitchFamily="34" charset="0"/>
                <a:cs typeface="Arial" panose="020B0604020202020204" pitchFamily="34" charset="0"/>
              </a:rPr>
              <a:t> in this case if </a:t>
            </a:r>
            <a:r>
              <a:rPr lang="ru-RU" sz="1400" dirty="0" err="1">
                <a:latin typeface="Arial" panose="020B0604020202020204" pitchFamily="34" charset="0"/>
                <a:cs typeface="Arial" panose="020B0604020202020204" pitchFamily="34" charset="0"/>
              </a:rPr>
              <a:t>the</a:t>
            </a:r>
            <a:r>
              <a:rPr lang="ru-RU" sz="1400"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key rate decrease and </a:t>
            </a:r>
            <a:r>
              <a:rPr lang="en-GB" sz="1400" dirty="0" err="1">
                <a:latin typeface="Arial" panose="020B0604020202020204" pitchFamily="34" charset="0"/>
                <a:cs typeface="Arial" panose="020B0604020202020204" pitchFamily="34" charset="0"/>
              </a:rPr>
              <a:t>mosprime</a:t>
            </a:r>
            <a:r>
              <a:rPr lang="en-GB" sz="1400" dirty="0">
                <a:latin typeface="Arial" panose="020B0604020202020204" pitchFamily="34" charset="0"/>
                <a:cs typeface="Arial" panose="020B0604020202020204" pitchFamily="34" charset="0"/>
              </a:rPr>
              <a:t> 3m do</a:t>
            </a:r>
            <a:r>
              <a:rPr lang="ru-RU" sz="1400" dirty="0">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not.</a:t>
            </a:r>
            <a:endParaRPr lang="ru-RU"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GB"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b="1" dirty="0">
                <a:latin typeface="Arial" panose="020B0604020202020204" pitchFamily="34" charset="0"/>
                <a:cs typeface="Arial" panose="020B0604020202020204" pitchFamily="34" charset="0"/>
              </a:rPr>
              <a:t>Option risk</a:t>
            </a:r>
            <a:r>
              <a:rPr lang="en-GB" sz="1400" dirty="0">
                <a:latin typeface="Arial" panose="020B0604020202020204" pitchFamily="34" charset="0"/>
                <a:cs typeface="Arial" panose="020B0604020202020204" pitchFamily="34" charset="0"/>
              </a:rPr>
              <a:t> arises from option derivative positions or from optional elements embedded in a bank’s assets, liabilities</a:t>
            </a:r>
            <a:r>
              <a:rPr lang="ru-RU" sz="1400" dirty="0">
                <a:latin typeface="Arial" panose="020B0604020202020204" pitchFamily="34" charset="0"/>
                <a:cs typeface="Arial" panose="020B0604020202020204" pitchFamily="34" charset="0"/>
              </a:rPr>
              <a:t>,</a:t>
            </a:r>
            <a:r>
              <a:rPr lang="en-GB" sz="1400" dirty="0">
                <a:latin typeface="Arial" panose="020B0604020202020204" pitchFamily="34" charset="0"/>
                <a:cs typeface="Arial" panose="020B0604020202020204" pitchFamily="34" charset="0"/>
              </a:rPr>
              <a:t> and/or off-balance sheet items, where the bank or its customer can alter the level and timing of their cash flows. </a:t>
            </a:r>
            <a:endParaRPr lang="ru-RU" sz="1400"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2D38F56E-6A2E-97E3-1EEA-CD833E620AAA}"/>
              </a:ext>
            </a:extLst>
          </p:cNvPr>
          <p:cNvSpPr txBox="1"/>
          <p:nvPr/>
        </p:nvSpPr>
        <p:spPr>
          <a:xfrm>
            <a:off x="404812" y="6444819"/>
            <a:ext cx="8397380" cy="246221"/>
          </a:xfrm>
          <a:prstGeom prst="rect">
            <a:avLst/>
          </a:prstGeom>
          <a:noFill/>
        </p:spPr>
        <p:txBody>
          <a:bodyPr wrap="square" rtlCol="0">
            <a:spAutoFit/>
          </a:bodyPr>
          <a:lstStyle/>
          <a:p>
            <a:r>
              <a:rPr lang="ru-RU" sz="1000" b="1" baseline="30000" dirty="0">
                <a:latin typeface="Arial" panose="020B0604020202020204" pitchFamily="34" charset="0"/>
                <a:cs typeface="Arial" panose="020B0604020202020204" pitchFamily="34" charset="0"/>
              </a:rPr>
              <a:t>1 </a:t>
            </a:r>
            <a:r>
              <a:rPr lang="en-GB" sz="1000" dirty="0">
                <a:latin typeface="Arial" panose="020B0604020202020204" pitchFamily="34" charset="0"/>
                <a:cs typeface="Arial" panose="020B0604020202020204" pitchFamily="34" charset="0"/>
                <a:hlinkClick r:id="rId2"/>
              </a:rPr>
              <a:t>https://www.bis.org/bcbs/publ/d368.pdf</a:t>
            </a:r>
            <a:r>
              <a:rPr lang="en-GB" sz="1000" dirty="0">
                <a:latin typeface="Arial" panose="020B0604020202020204" pitchFamily="34" charset="0"/>
                <a:cs typeface="Arial" panose="020B0604020202020204" pitchFamily="34" charset="0"/>
              </a:rPr>
              <a:t> </a:t>
            </a:r>
          </a:p>
        </p:txBody>
      </p:sp>
      <p:graphicFrame>
        <p:nvGraphicFramePr>
          <p:cNvPr id="6" name="Диаграмма 7">
            <a:extLst>
              <a:ext uri="{FF2B5EF4-FFF2-40B4-BE49-F238E27FC236}">
                <a16:creationId xmlns:a16="http://schemas.microsoft.com/office/drawing/2014/main" id="{D90369BC-D98B-4048-B11A-1133FF6D97E6}"/>
              </a:ext>
            </a:extLst>
          </p:cNvPr>
          <p:cNvGraphicFramePr>
            <a:graphicFrameLocks/>
          </p:cNvGraphicFramePr>
          <p:nvPr>
            <p:extLst>
              <p:ext uri="{D42A27DB-BD31-4B8C-83A1-F6EECF244321}">
                <p14:modId xmlns:p14="http://schemas.microsoft.com/office/powerpoint/2010/main" val="766996616"/>
              </p:ext>
            </p:extLst>
          </p:nvPr>
        </p:nvGraphicFramePr>
        <p:xfrm>
          <a:off x="6538823" y="945185"/>
          <a:ext cx="5400135" cy="5262979"/>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A27F57D4-A9B3-09B0-FE14-6C2E38A57A8A}"/>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5.4</a:t>
            </a:r>
            <a:endParaRPr lang="ru-RU" sz="2500" b="1" dirty="0">
              <a:solidFill>
                <a:srgbClr val="FF0000"/>
              </a:solidFill>
            </a:endParaRPr>
          </a:p>
        </p:txBody>
      </p:sp>
      <p:sp>
        <p:nvSpPr>
          <p:cNvPr id="7" name="TextBox 6">
            <a:extLst>
              <a:ext uri="{FF2B5EF4-FFF2-40B4-BE49-F238E27FC236}">
                <a16:creationId xmlns:a16="http://schemas.microsoft.com/office/drawing/2014/main" id="{62918792-EAC4-5F14-CC7D-8D916E348FD3}"/>
              </a:ext>
            </a:extLst>
          </p:cNvPr>
          <p:cNvSpPr txBox="1"/>
          <p:nvPr/>
        </p:nvSpPr>
        <p:spPr>
          <a:xfrm rot="16200000">
            <a:off x="-1101131" y="2097574"/>
            <a:ext cx="2851435" cy="369332"/>
          </a:xfrm>
          <a:prstGeom prst="rect">
            <a:avLst/>
          </a:prstGeom>
          <a:noFill/>
        </p:spPr>
        <p:txBody>
          <a:bodyPr wrap="square" rtlCol="0">
            <a:spAutoFit/>
          </a:bodyPr>
          <a:lstStyle/>
          <a:p>
            <a:r>
              <a:rPr lang="en-US" dirty="0">
                <a:solidFill>
                  <a:schemeClr val="bg1">
                    <a:lumMod val="65000"/>
                  </a:schemeClr>
                </a:solidFill>
              </a:rPr>
              <a:t>External factor</a:t>
            </a:r>
            <a:endParaRPr lang="en-NL" dirty="0">
              <a:solidFill>
                <a:schemeClr val="bg1">
                  <a:lumMod val="65000"/>
                </a:schemeClr>
              </a:solidFill>
            </a:endParaRPr>
          </a:p>
        </p:txBody>
      </p:sp>
      <p:sp>
        <p:nvSpPr>
          <p:cNvPr id="9" name="Left Bracket 8">
            <a:extLst>
              <a:ext uri="{FF2B5EF4-FFF2-40B4-BE49-F238E27FC236}">
                <a16:creationId xmlns:a16="http://schemas.microsoft.com/office/drawing/2014/main" id="{968CB89E-20B5-4BBC-BA46-1FE880EA4105}"/>
              </a:ext>
            </a:extLst>
          </p:cNvPr>
          <p:cNvSpPr/>
          <p:nvPr/>
        </p:nvSpPr>
        <p:spPr>
          <a:xfrm>
            <a:off x="490193" y="2121031"/>
            <a:ext cx="94268" cy="1772239"/>
          </a:xfrm>
          <a:prstGeom prst="leftBracket">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10" name="Left Bracket 9">
            <a:extLst>
              <a:ext uri="{FF2B5EF4-FFF2-40B4-BE49-F238E27FC236}">
                <a16:creationId xmlns:a16="http://schemas.microsoft.com/office/drawing/2014/main" id="{4869BF0D-F006-5AE4-794D-9139713FBEC1}"/>
              </a:ext>
            </a:extLst>
          </p:cNvPr>
          <p:cNvSpPr/>
          <p:nvPr/>
        </p:nvSpPr>
        <p:spPr>
          <a:xfrm>
            <a:off x="490193" y="4047899"/>
            <a:ext cx="94268" cy="2160265"/>
          </a:xfrm>
          <a:prstGeom prst="leftBracket">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11" name="TextBox 10">
            <a:extLst>
              <a:ext uri="{FF2B5EF4-FFF2-40B4-BE49-F238E27FC236}">
                <a16:creationId xmlns:a16="http://schemas.microsoft.com/office/drawing/2014/main" id="{28C1EB04-4739-1CAB-75E8-2DAFBE8FCDFF}"/>
              </a:ext>
            </a:extLst>
          </p:cNvPr>
          <p:cNvSpPr txBox="1"/>
          <p:nvPr/>
        </p:nvSpPr>
        <p:spPr>
          <a:xfrm rot="16200000">
            <a:off x="-1099456" y="4248202"/>
            <a:ext cx="2851435" cy="369332"/>
          </a:xfrm>
          <a:prstGeom prst="rect">
            <a:avLst/>
          </a:prstGeom>
          <a:noFill/>
        </p:spPr>
        <p:txBody>
          <a:bodyPr wrap="square" rtlCol="0">
            <a:spAutoFit/>
          </a:bodyPr>
          <a:lstStyle/>
          <a:p>
            <a:r>
              <a:rPr lang="en-US" dirty="0">
                <a:solidFill>
                  <a:schemeClr val="bg1">
                    <a:lumMod val="65000"/>
                  </a:schemeClr>
                </a:solidFill>
              </a:rPr>
              <a:t>Internal factors</a:t>
            </a:r>
            <a:endParaRPr lang="en-NL" dirty="0">
              <a:solidFill>
                <a:schemeClr val="bg1">
                  <a:lumMod val="65000"/>
                </a:schemeClr>
              </a:solidFill>
            </a:endParaRPr>
          </a:p>
        </p:txBody>
      </p:sp>
    </p:spTree>
    <p:extLst>
      <p:ext uri="{BB962C8B-B14F-4D97-AF65-F5344CB8AC3E}">
        <p14:creationId xmlns:p14="http://schemas.microsoft.com/office/powerpoint/2010/main" val="41460221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4</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isk metrics of IRR</a:t>
            </a:r>
          </a:p>
        </p:txBody>
      </p:sp>
      <p:graphicFrame>
        <p:nvGraphicFramePr>
          <p:cNvPr id="4" name="Table 5">
            <a:extLst>
              <a:ext uri="{FF2B5EF4-FFF2-40B4-BE49-F238E27FC236}">
                <a16:creationId xmlns:a16="http://schemas.microsoft.com/office/drawing/2014/main" id="{4FA4670E-7F8F-F66C-8A96-9C378A643C68}"/>
              </a:ext>
            </a:extLst>
          </p:cNvPr>
          <p:cNvGraphicFramePr>
            <a:graphicFrameLocks noGrp="1"/>
          </p:cNvGraphicFramePr>
          <p:nvPr>
            <p:extLst>
              <p:ext uri="{D42A27DB-BD31-4B8C-83A1-F6EECF244321}">
                <p14:modId xmlns:p14="http://schemas.microsoft.com/office/powerpoint/2010/main" val="3210728422"/>
              </p:ext>
            </p:extLst>
          </p:nvPr>
        </p:nvGraphicFramePr>
        <p:xfrm>
          <a:off x="466655" y="992021"/>
          <a:ext cx="11438300" cy="5015805"/>
        </p:xfrm>
        <a:graphic>
          <a:graphicData uri="http://schemas.openxmlformats.org/drawingml/2006/table">
            <a:tbl>
              <a:tblPr firstRow="1" bandRow="1">
                <a:tableStyleId>{5940675A-B579-460E-94D1-54222C63F5DA}</a:tableStyleId>
              </a:tblPr>
              <a:tblGrid>
                <a:gridCol w="4450618">
                  <a:extLst>
                    <a:ext uri="{9D8B030D-6E8A-4147-A177-3AD203B41FA5}">
                      <a16:colId xmlns:a16="http://schemas.microsoft.com/office/drawing/2014/main" val="181603195"/>
                    </a:ext>
                  </a:extLst>
                </a:gridCol>
                <a:gridCol w="6987682">
                  <a:extLst>
                    <a:ext uri="{9D8B030D-6E8A-4147-A177-3AD203B41FA5}">
                      <a16:colId xmlns:a16="http://schemas.microsoft.com/office/drawing/2014/main" val="753762653"/>
                    </a:ext>
                  </a:extLst>
                </a:gridCol>
              </a:tblGrid>
              <a:tr h="766035">
                <a:tc>
                  <a:txBody>
                    <a:bodyPr/>
                    <a:lstStyle/>
                    <a:p>
                      <a:pPr algn="ctr"/>
                      <a:r>
                        <a:rPr lang="en-GB" sz="2200" b="1" dirty="0">
                          <a:latin typeface="Arial" panose="020B0604020202020204" pitchFamily="34" charset="0"/>
                          <a:cs typeface="Arial" panose="020B0604020202020204" pitchFamily="34" charset="0"/>
                        </a:rPr>
                        <a:t>Name of the instrument</a:t>
                      </a:r>
                    </a:p>
                  </a:txBody>
                  <a:tcPr anchor="ctr">
                    <a:solidFill>
                      <a:schemeClr val="accent5">
                        <a:lumMod val="20000"/>
                        <a:lumOff val="80000"/>
                      </a:schemeClr>
                    </a:solidFill>
                  </a:tcPr>
                </a:tc>
                <a:tc>
                  <a:txBody>
                    <a:bodyPr/>
                    <a:lstStyle/>
                    <a:p>
                      <a:pPr algn="ctr"/>
                      <a:r>
                        <a:rPr lang="en-GB" sz="2200" b="1" dirty="0">
                          <a:latin typeface="Arial" panose="020B0604020202020204" pitchFamily="34" charset="0"/>
                          <a:cs typeface="Arial" panose="020B0604020202020204" pitchFamily="34" charset="0"/>
                        </a:rPr>
                        <a:t>Nature of calc</a:t>
                      </a:r>
                    </a:p>
                  </a:txBody>
                  <a:tcPr anchor="ctr">
                    <a:solidFill>
                      <a:schemeClr val="accent5">
                        <a:lumMod val="20000"/>
                        <a:lumOff val="80000"/>
                      </a:schemeClr>
                    </a:solidFill>
                  </a:tcPr>
                </a:tc>
                <a:extLst>
                  <a:ext uri="{0D108BD9-81ED-4DB2-BD59-A6C34878D82A}">
                    <a16:rowId xmlns:a16="http://schemas.microsoft.com/office/drawing/2014/main" val="2775763416"/>
                  </a:ext>
                </a:extLst>
              </a:tr>
              <a:tr h="1027044">
                <a:tc>
                  <a:txBody>
                    <a:bodyPr/>
                    <a:lstStyle/>
                    <a:p>
                      <a:r>
                        <a:rPr lang="en-GB" sz="2200" dirty="0">
                          <a:latin typeface="Arial" panose="020B0604020202020204" pitchFamily="34" charset="0"/>
                          <a:cs typeface="Arial" panose="020B0604020202020204" pitchFamily="34" charset="0"/>
                        </a:rPr>
                        <a:t>1. Interest rate gap</a:t>
                      </a:r>
                    </a:p>
                  </a:txBody>
                  <a:tcPr anchor="ctr">
                    <a:solidFill>
                      <a:schemeClr val="accent5">
                        <a:lumMod val="20000"/>
                        <a:lumOff val="80000"/>
                      </a:schemeClr>
                    </a:solidFill>
                  </a:tcPr>
                </a:tc>
                <a:tc>
                  <a:txBody>
                    <a:bodyPr/>
                    <a:lstStyle/>
                    <a:p>
                      <a:r>
                        <a:rPr lang="en-GB" sz="2200" dirty="0">
                          <a:latin typeface="Arial" panose="020B0604020202020204" pitchFamily="34" charset="0"/>
                          <a:cs typeface="Arial" panose="020B0604020202020204" pitchFamily="34" charset="0"/>
                        </a:rPr>
                        <a:t>Shows the distribution of assets and liabilities across tenors on which the interest rate may change according to contractual terms</a:t>
                      </a:r>
                    </a:p>
                  </a:txBody>
                  <a:tcPr anchor="ctr">
                    <a:solidFill>
                      <a:schemeClr val="accent5">
                        <a:lumMod val="20000"/>
                        <a:lumOff val="80000"/>
                      </a:schemeClr>
                    </a:solidFill>
                  </a:tcPr>
                </a:tc>
                <a:extLst>
                  <a:ext uri="{0D108BD9-81ED-4DB2-BD59-A6C34878D82A}">
                    <a16:rowId xmlns:a16="http://schemas.microsoft.com/office/drawing/2014/main" val="3298591007"/>
                  </a:ext>
                </a:extLst>
              </a:tr>
              <a:tr h="10270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200" dirty="0">
                          <a:latin typeface="Arial" panose="020B0604020202020204" pitchFamily="34" charset="0"/>
                          <a:cs typeface="Arial" panose="020B0604020202020204" pitchFamily="34" charset="0"/>
                        </a:rPr>
                        <a:t>2. The direct and indirect method of interest rate sensitivity </a:t>
                      </a:r>
                      <a:r>
                        <a:rPr lang="en-GB" sz="2200" kern="1200" dirty="0">
                          <a:solidFill>
                            <a:schemeClr val="tx1"/>
                          </a:solidFill>
                          <a:latin typeface="Arial" panose="020B0604020202020204" pitchFamily="34" charset="0"/>
                          <a:ea typeface="+mn-ea"/>
                          <a:cs typeface="Arial" panose="020B0604020202020204" pitchFamily="34" charset="0"/>
                        </a:rPr>
                        <a:t>analysis </a:t>
                      </a:r>
                      <a:r>
                        <a:rPr lang="en-GB" sz="2200" b="0" kern="1200" dirty="0">
                          <a:solidFill>
                            <a:schemeClr val="tx1"/>
                          </a:solidFill>
                          <a:latin typeface="Arial" panose="020B0604020202020204" pitchFamily="34" charset="0"/>
                          <a:ea typeface="+mn-ea"/>
                          <a:cs typeface="Arial" panose="020B0604020202020204" pitchFamily="34" charset="0"/>
                        </a:rPr>
                        <a:t>(∆NII)</a:t>
                      </a:r>
                    </a:p>
                  </a:txBody>
                  <a:tcPr anchor="ctr">
                    <a:solidFill>
                      <a:schemeClr val="accent5">
                        <a:lumMod val="20000"/>
                        <a:lumOff val="80000"/>
                      </a:schemeClr>
                    </a:solidFill>
                  </a:tcPr>
                </a:tc>
                <a:tc>
                  <a:txBody>
                    <a:bodyPr/>
                    <a:lstStyle/>
                    <a:p>
                      <a:r>
                        <a:rPr lang="en-GB" sz="2200" dirty="0">
                          <a:latin typeface="Arial" panose="020B0604020202020204" pitchFamily="34" charset="0"/>
                          <a:cs typeface="Arial" panose="020B0604020202020204" pitchFamily="34" charset="0"/>
                        </a:rPr>
                        <a:t>Estimation of effect on PL for given horizon after specified change of interest rate curve</a:t>
                      </a:r>
                    </a:p>
                  </a:txBody>
                  <a:tcPr anchor="ctr">
                    <a:solidFill>
                      <a:schemeClr val="accent5">
                        <a:lumMod val="20000"/>
                        <a:lumOff val="80000"/>
                      </a:schemeClr>
                    </a:solidFill>
                  </a:tcPr>
                </a:tc>
                <a:extLst>
                  <a:ext uri="{0D108BD9-81ED-4DB2-BD59-A6C34878D82A}">
                    <a16:rowId xmlns:a16="http://schemas.microsoft.com/office/drawing/2014/main" val="3232146464"/>
                  </a:ext>
                </a:extLst>
              </a:tr>
              <a:tr h="957930">
                <a:tc>
                  <a:txBody>
                    <a:bodyPr/>
                    <a:lstStyle/>
                    <a:p>
                      <a:r>
                        <a:rPr lang="ru-RU" sz="2200" dirty="0">
                          <a:latin typeface="Arial" panose="020B0604020202020204" pitchFamily="34" charset="0"/>
                          <a:cs typeface="Arial" panose="020B0604020202020204" pitchFamily="34" charset="0"/>
                        </a:rPr>
                        <a:t>3</a:t>
                      </a:r>
                      <a:r>
                        <a:rPr lang="en-GB" sz="2200" dirty="0">
                          <a:latin typeface="Arial" panose="020B0604020202020204" pitchFamily="34" charset="0"/>
                          <a:cs typeface="Arial" panose="020B0604020202020204" pitchFamily="34" charset="0"/>
                        </a:rPr>
                        <a:t>. </a:t>
                      </a:r>
                      <a:r>
                        <a:rPr lang="en-GB" sz="2200" b="0" kern="1200" dirty="0">
                          <a:solidFill>
                            <a:schemeClr val="tx1"/>
                          </a:solidFill>
                          <a:latin typeface="Arial" panose="020B0604020202020204" pitchFamily="34" charset="0"/>
                          <a:ea typeface="+mn-ea"/>
                          <a:cs typeface="Arial" panose="020B0604020202020204" pitchFamily="34" charset="0"/>
                        </a:rPr>
                        <a:t>∆</a:t>
                      </a:r>
                      <a:r>
                        <a:rPr lang="en-GB" sz="2200" dirty="0">
                          <a:latin typeface="Arial" panose="020B0604020202020204" pitchFamily="34" charset="0"/>
                          <a:cs typeface="Arial" panose="020B0604020202020204" pitchFamily="34" charset="0"/>
                        </a:rPr>
                        <a:t>EVE (Economic Value of Equity)</a:t>
                      </a:r>
                    </a:p>
                  </a:txBody>
                  <a:tcPr anchor="ctr">
                    <a:solidFill>
                      <a:schemeClr val="accent5">
                        <a:lumMod val="20000"/>
                        <a:lumOff val="80000"/>
                      </a:schemeClr>
                    </a:solidFill>
                  </a:tcPr>
                </a:tc>
                <a:tc>
                  <a:txBody>
                    <a:bodyPr/>
                    <a:lstStyle/>
                    <a:p>
                      <a:r>
                        <a:rPr lang="en-GB" sz="2200" dirty="0">
                          <a:latin typeface="Arial" panose="020B0604020202020204" pitchFamily="34" charset="0"/>
                          <a:cs typeface="Arial" panose="020B0604020202020204" pitchFamily="34" charset="0"/>
                        </a:rPr>
                        <a:t>Estimation of change of the value of the bank itself</a:t>
                      </a:r>
                    </a:p>
                  </a:txBody>
                  <a:tcPr anchor="ctr">
                    <a:solidFill>
                      <a:schemeClr val="accent5">
                        <a:lumMod val="20000"/>
                        <a:lumOff val="80000"/>
                      </a:schemeClr>
                    </a:solidFill>
                  </a:tcPr>
                </a:tc>
                <a:extLst>
                  <a:ext uri="{0D108BD9-81ED-4DB2-BD59-A6C34878D82A}">
                    <a16:rowId xmlns:a16="http://schemas.microsoft.com/office/drawing/2014/main" val="346503136"/>
                  </a:ext>
                </a:extLst>
              </a:tr>
              <a:tr h="957930">
                <a:tc>
                  <a:txBody>
                    <a:bodyPr/>
                    <a:lstStyle/>
                    <a:p>
                      <a:r>
                        <a:rPr lang="ru-RU" sz="2200" dirty="0">
                          <a:latin typeface="Arial" panose="020B0604020202020204" pitchFamily="34" charset="0"/>
                          <a:cs typeface="Arial" panose="020B0604020202020204" pitchFamily="34" charset="0"/>
                        </a:rPr>
                        <a:t>4</a:t>
                      </a:r>
                      <a:r>
                        <a:rPr lang="en-GB" sz="2200" dirty="0">
                          <a:latin typeface="Arial" panose="020B0604020202020204" pitchFamily="34" charset="0"/>
                          <a:cs typeface="Arial" panose="020B0604020202020204" pitchFamily="34" charset="0"/>
                        </a:rPr>
                        <a:t>. Economical capital</a:t>
                      </a:r>
                    </a:p>
                  </a:txBody>
                  <a:tcPr anchor="ctr">
                    <a:solidFill>
                      <a:schemeClr val="accent5">
                        <a:lumMod val="20000"/>
                        <a:lumOff val="80000"/>
                      </a:schemeClr>
                    </a:solidFill>
                  </a:tcPr>
                </a:tc>
                <a:tc>
                  <a:txBody>
                    <a:bodyPr/>
                    <a:lstStyle/>
                    <a:p>
                      <a:r>
                        <a:rPr lang="en-GB" sz="2200" dirty="0">
                          <a:latin typeface="Arial" panose="020B0604020202020204" pitchFamily="34" charset="0"/>
                          <a:cs typeface="Arial" panose="020B0604020202020204" pitchFamily="34" charset="0"/>
                        </a:rPr>
                        <a:t>Estimation of loss</a:t>
                      </a:r>
                      <a:r>
                        <a:rPr lang="ru-RU" sz="2200"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rPr>
                        <a:t>NII and/or EVE</a:t>
                      </a:r>
                      <a:r>
                        <a:rPr lang="ru-RU" sz="2200" dirty="0">
                          <a:latin typeface="Arial" panose="020B0604020202020204" pitchFamily="34" charset="0"/>
                          <a:cs typeface="Arial" panose="020B0604020202020204" pitchFamily="34" charset="0"/>
                        </a:rPr>
                        <a:t>)</a:t>
                      </a:r>
                      <a:r>
                        <a:rPr lang="en-GB" sz="2200" dirty="0">
                          <a:latin typeface="Arial" panose="020B0604020202020204" pitchFamily="34" charset="0"/>
                          <a:cs typeface="Arial" panose="020B0604020202020204" pitchFamily="34" charset="0"/>
                        </a:rPr>
                        <a:t> from the realization of the shock of interest rates which</a:t>
                      </a:r>
                      <a:r>
                        <a:rPr lang="ru-RU" sz="2200" dirty="0">
                          <a:latin typeface="Arial" panose="020B0604020202020204" pitchFamily="34" charset="0"/>
                          <a:cs typeface="Arial" panose="020B0604020202020204" pitchFamily="34" charset="0"/>
                        </a:rPr>
                        <a:t> </a:t>
                      </a:r>
                      <a:r>
                        <a:rPr lang="en-GB" sz="2200" dirty="0">
                          <a:latin typeface="Arial" panose="020B0604020202020204" pitchFamily="34" charset="0"/>
                          <a:cs typeface="Arial" panose="020B0604020202020204" pitchFamily="34" charset="0"/>
                        </a:rPr>
                        <a:t>should not be exceeded with  some predetermined probability</a:t>
                      </a:r>
                    </a:p>
                  </a:txBody>
                  <a:tcPr anchor="ctr">
                    <a:solidFill>
                      <a:schemeClr val="accent5">
                        <a:lumMod val="20000"/>
                        <a:lumOff val="80000"/>
                      </a:schemeClr>
                    </a:solidFill>
                  </a:tcPr>
                </a:tc>
                <a:extLst>
                  <a:ext uri="{0D108BD9-81ED-4DB2-BD59-A6C34878D82A}">
                    <a16:rowId xmlns:a16="http://schemas.microsoft.com/office/drawing/2014/main" val="2524014056"/>
                  </a:ext>
                </a:extLst>
              </a:tr>
            </a:tbl>
          </a:graphicData>
        </a:graphic>
      </p:graphicFrame>
    </p:spTree>
    <p:extLst>
      <p:ext uri="{BB962C8B-B14F-4D97-AF65-F5344CB8AC3E}">
        <p14:creationId xmlns:p14="http://schemas.microsoft.com/office/powerpoint/2010/main" val="38068077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5</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1. Interest rate gap</a:t>
            </a:r>
          </a:p>
        </p:txBody>
      </p:sp>
      <p:sp>
        <p:nvSpPr>
          <p:cNvPr id="6" name="TextBox 5">
            <a:extLst>
              <a:ext uri="{FF2B5EF4-FFF2-40B4-BE49-F238E27FC236}">
                <a16:creationId xmlns:a16="http://schemas.microsoft.com/office/drawing/2014/main" id="{7304A516-7872-1BDB-C272-35B46237BDC5}"/>
              </a:ext>
            </a:extLst>
          </p:cNvPr>
          <p:cNvSpPr txBox="1"/>
          <p:nvPr/>
        </p:nvSpPr>
        <p:spPr>
          <a:xfrm>
            <a:off x="381958" y="805343"/>
            <a:ext cx="12135557" cy="1200329"/>
          </a:xfrm>
          <a:prstGeom prst="rect">
            <a:avLst/>
          </a:prstGeom>
          <a:noFill/>
        </p:spPr>
        <p:txBody>
          <a:bodyPr wrap="square" rtlCol="0">
            <a:spAutoFit/>
          </a:bodyPr>
          <a:lstStyle/>
          <a:p>
            <a:r>
              <a:rPr lang="en-GB" dirty="0"/>
              <a:t>The interest rate gap - a disparity of repricing assets and liabilities after a shift in interest rates (list “IR gap…”, step 2). </a:t>
            </a:r>
          </a:p>
          <a:p>
            <a:r>
              <a:rPr lang="en-GB" dirty="0"/>
              <a:t>How can such “repricing” realize?:</a:t>
            </a:r>
          </a:p>
          <a:p>
            <a:pPr marL="285750" indent="-285750">
              <a:buFont typeface="Arial" panose="020B0604020202020204" pitchFamily="34" charset="0"/>
              <a:buChar char="•"/>
            </a:pPr>
            <a:r>
              <a:rPr lang="en-GB" dirty="0"/>
              <a:t>Repayment</a:t>
            </a:r>
            <a:r>
              <a:rPr lang="ru-RU" dirty="0"/>
              <a:t> </a:t>
            </a:r>
            <a:r>
              <a:rPr lang="en-GB" dirty="0"/>
              <a:t>of principal on assets/liabilities</a:t>
            </a:r>
          </a:p>
          <a:p>
            <a:pPr marL="285750" indent="-285750">
              <a:buFont typeface="Arial" panose="020B0604020202020204" pitchFamily="34" charset="0"/>
              <a:buChar char="•"/>
            </a:pPr>
            <a:r>
              <a:rPr lang="en-GB" dirty="0"/>
              <a:t>Floating rates </a:t>
            </a:r>
          </a:p>
        </p:txBody>
      </p:sp>
      <p:sp>
        <p:nvSpPr>
          <p:cNvPr id="7" name="TextBox 6">
            <a:extLst>
              <a:ext uri="{FF2B5EF4-FFF2-40B4-BE49-F238E27FC236}">
                <a16:creationId xmlns:a16="http://schemas.microsoft.com/office/drawing/2014/main" id="{CF7A709A-ACDD-6ACC-C04E-047E625272FA}"/>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5.3</a:t>
            </a:r>
            <a:endParaRPr lang="ru-RU" sz="2500" b="1" dirty="0">
              <a:solidFill>
                <a:srgbClr val="FF0000"/>
              </a:solidFill>
            </a:endParaRPr>
          </a:p>
        </p:txBody>
      </p:sp>
      <p:graphicFrame>
        <p:nvGraphicFramePr>
          <p:cNvPr id="3" name="Chart 2">
            <a:extLst>
              <a:ext uri="{FF2B5EF4-FFF2-40B4-BE49-F238E27FC236}">
                <a16:creationId xmlns:a16="http://schemas.microsoft.com/office/drawing/2014/main" id="{A12E7895-C2CC-4F97-8797-1EDFDB6BAB8A}"/>
              </a:ext>
            </a:extLst>
          </p:cNvPr>
          <p:cNvGraphicFramePr>
            <a:graphicFrameLocks/>
          </p:cNvGraphicFramePr>
          <p:nvPr>
            <p:extLst>
              <p:ext uri="{D42A27DB-BD31-4B8C-83A1-F6EECF244321}">
                <p14:modId xmlns:p14="http://schemas.microsoft.com/office/powerpoint/2010/main" val="2640007307"/>
              </p:ext>
            </p:extLst>
          </p:nvPr>
        </p:nvGraphicFramePr>
        <p:xfrm>
          <a:off x="6184274" y="1956873"/>
          <a:ext cx="5436065" cy="322432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1A4ACF02-C0D9-4956-8284-1CE9DD6E2608}"/>
              </a:ext>
            </a:extLst>
          </p:cNvPr>
          <p:cNvGraphicFramePr>
            <a:graphicFrameLocks/>
          </p:cNvGraphicFramePr>
          <p:nvPr>
            <p:extLst>
              <p:ext uri="{D42A27DB-BD31-4B8C-83A1-F6EECF244321}">
                <p14:modId xmlns:p14="http://schemas.microsoft.com/office/powerpoint/2010/main" val="3841847079"/>
              </p:ext>
            </p:extLst>
          </p:nvPr>
        </p:nvGraphicFramePr>
        <p:xfrm>
          <a:off x="381958" y="1956873"/>
          <a:ext cx="4903106" cy="3248412"/>
        </p:xfrm>
        <a:graphic>
          <a:graphicData uri="http://schemas.openxmlformats.org/drawingml/2006/chart">
            <c:chart xmlns:c="http://schemas.openxmlformats.org/drawingml/2006/chart" xmlns:r="http://schemas.openxmlformats.org/officeDocument/2006/relationships" r:id="rId3"/>
          </a:graphicData>
        </a:graphic>
      </p:graphicFrame>
      <p:sp>
        <p:nvSpPr>
          <p:cNvPr id="9" name="Arrow: Right 8">
            <a:extLst>
              <a:ext uri="{FF2B5EF4-FFF2-40B4-BE49-F238E27FC236}">
                <a16:creationId xmlns:a16="http://schemas.microsoft.com/office/drawing/2014/main" id="{17E51F88-4398-76C0-3DF9-8503C88BEBE1}"/>
              </a:ext>
            </a:extLst>
          </p:cNvPr>
          <p:cNvSpPr/>
          <p:nvPr/>
        </p:nvSpPr>
        <p:spPr>
          <a:xfrm>
            <a:off x="5471193" y="3153198"/>
            <a:ext cx="524917" cy="369331"/>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FABF48EB-F5DD-73B7-0214-661762AC84D0}"/>
              </a:ext>
            </a:extLst>
          </p:cNvPr>
          <p:cNvSpPr txBox="1"/>
          <p:nvPr/>
        </p:nvSpPr>
        <p:spPr>
          <a:xfrm>
            <a:off x="381958" y="5207983"/>
            <a:ext cx="11662897" cy="1200329"/>
          </a:xfrm>
          <a:prstGeom prst="rect">
            <a:avLst/>
          </a:prstGeom>
          <a:noFill/>
        </p:spPr>
        <p:txBody>
          <a:bodyPr wrap="square" rtlCol="0">
            <a:spAutoFit/>
          </a:bodyPr>
          <a:lstStyle/>
          <a:p>
            <a:r>
              <a:rPr lang="en-GB" dirty="0"/>
              <a:t>The main extensions of interest rate gap calculations are</a:t>
            </a:r>
            <a:r>
              <a:rPr lang="ru-RU" dirty="0"/>
              <a:t> (</a:t>
            </a:r>
            <a:r>
              <a:rPr lang="en-US" dirty="0" err="1"/>
              <a:t>optionalities</a:t>
            </a:r>
            <a:r>
              <a:rPr lang="ru-RU" dirty="0"/>
              <a:t>)</a:t>
            </a:r>
            <a:r>
              <a:rPr lang="en-GB" dirty="0"/>
              <a:t>:</a:t>
            </a:r>
          </a:p>
          <a:p>
            <a:pPr marL="285750" indent="-285750">
              <a:buFont typeface="Arial" panose="020B0604020202020204" pitchFamily="34" charset="0"/>
              <a:buChar char="•"/>
            </a:pPr>
            <a:r>
              <a:rPr lang="en-GB" dirty="0"/>
              <a:t>Deposit withdrawal model</a:t>
            </a:r>
          </a:p>
          <a:p>
            <a:pPr marL="285750" indent="-285750">
              <a:buFont typeface="Arial" panose="020B0604020202020204" pitchFamily="34" charset="0"/>
              <a:buChar char="•"/>
            </a:pPr>
            <a:r>
              <a:rPr lang="en-GB" dirty="0"/>
              <a:t>Loan prepayment model</a:t>
            </a:r>
            <a:r>
              <a:rPr lang="ru-RU" dirty="0"/>
              <a:t> / </a:t>
            </a:r>
            <a:r>
              <a:rPr lang="en-US" dirty="0"/>
              <a:t>refinance</a:t>
            </a:r>
            <a:endParaRPr lang="en-GB" dirty="0"/>
          </a:p>
          <a:p>
            <a:pPr marL="285750" indent="-285750">
              <a:buFont typeface="Arial" panose="020B0604020202020204" pitchFamily="34" charset="0"/>
              <a:buChar char="•"/>
            </a:pPr>
            <a:r>
              <a:rPr lang="en-GB" dirty="0">
                <a:solidFill>
                  <a:schemeClr val="bg1">
                    <a:lumMod val="65000"/>
                  </a:schemeClr>
                </a:solidFill>
              </a:rPr>
              <a:t>Overdue (less important and more difficult to predict)</a:t>
            </a:r>
          </a:p>
        </p:txBody>
      </p:sp>
    </p:spTree>
    <p:extLst>
      <p:ext uri="{BB962C8B-B14F-4D97-AF65-F5344CB8AC3E}">
        <p14:creationId xmlns:p14="http://schemas.microsoft.com/office/powerpoint/2010/main" val="23226872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6</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8" y="213126"/>
            <a:ext cx="10574063"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2. Interest rate sensitivity calculation by the indirect method (</a:t>
            </a:r>
            <a:r>
              <a:rPr lang="en-GB" sz="2500" b="1" kern="0" dirty="0">
                <a:solidFill>
                  <a:srgbClr val="1F4E79"/>
                </a:solidFill>
                <a:latin typeface="Calibri" panose="020F0502020204030204" pitchFamily="34" charset="0"/>
                <a:ea typeface="等线" panose="02010600030101010101" pitchFamily="2" charset="-122"/>
                <a:cs typeface="Calibri" panose="020F0502020204030204" pitchFamily="34" charset="0"/>
              </a:rPr>
              <a:t>∆</a:t>
            </a: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NII)</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graphicFrame>
        <p:nvGraphicFramePr>
          <p:cNvPr id="4" name="Chart 3">
            <a:extLst>
              <a:ext uri="{FF2B5EF4-FFF2-40B4-BE49-F238E27FC236}">
                <a16:creationId xmlns:a16="http://schemas.microsoft.com/office/drawing/2014/main" id="{11CFC757-5727-5D67-8831-9EC4CE6B6F84}"/>
              </a:ext>
            </a:extLst>
          </p:cNvPr>
          <p:cNvGraphicFramePr>
            <a:graphicFrameLocks/>
          </p:cNvGraphicFramePr>
          <p:nvPr>
            <p:extLst>
              <p:ext uri="{D42A27DB-BD31-4B8C-83A1-F6EECF244321}">
                <p14:modId xmlns:p14="http://schemas.microsoft.com/office/powerpoint/2010/main" val="3623932565"/>
              </p:ext>
            </p:extLst>
          </p:nvPr>
        </p:nvGraphicFramePr>
        <p:xfrm>
          <a:off x="588627" y="739764"/>
          <a:ext cx="5252880" cy="2731401"/>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55DC015C-12FE-A55C-DF36-68759984506F}"/>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5.3</a:t>
            </a:r>
            <a:endParaRPr lang="ru-RU" sz="2500" b="1" dirty="0">
              <a:solidFill>
                <a:srgbClr val="FF0000"/>
              </a:solidFill>
            </a:endParaRPr>
          </a:p>
        </p:txBody>
      </p:sp>
      <p:sp>
        <p:nvSpPr>
          <p:cNvPr id="9" name="TextBox 8">
            <a:extLst>
              <a:ext uri="{FF2B5EF4-FFF2-40B4-BE49-F238E27FC236}">
                <a16:creationId xmlns:a16="http://schemas.microsoft.com/office/drawing/2014/main" id="{5EC41978-1730-74B4-27A0-640FFDB857C0}"/>
              </a:ext>
            </a:extLst>
          </p:cNvPr>
          <p:cNvSpPr txBox="1"/>
          <p:nvPr/>
        </p:nvSpPr>
        <p:spPr>
          <a:xfrm>
            <a:off x="404812" y="6400429"/>
            <a:ext cx="8397380" cy="400110"/>
          </a:xfrm>
          <a:prstGeom prst="rect">
            <a:avLst/>
          </a:prstGeom>
          <a:noFill/>
        </p:spPr>
        <p:txBody>
          <a:bodyPr wrap="square" rtlCol="0">
            <a:spAutoFit/>
          </a:bodyPr>
          <a:lstStyle/>
          <a:p>
            <a:r>
              <a:rPr lang="ru-RU" sz="1000" b="1" baseline="30000" dirty="0">
                <a:latin typeface="Arial" panose="020B0604020202020204" pitchFamily="34" charset="0"/>
                <a:cs typeface="Arial" panose="020B0604020202020204" pitchFamily="34" charset="0"/>
              </a:rPr>
              <a:t>1 </a:t>
            </a:r>
            <a:r>
              <a:rPr lang="ru-RU" sz="1000" dirty="0">
                <a:latin typeface="Arial" panose="020B0604020202020204" pitchFamily="34" charset="0"/>
                <a:cs typeface="Arial" panose="020B0604020202020204" pitchFamily="34" charset="0"/>
              </a:rPr>
              <a:t>1</a:t>
            </a:r>
            <a:r>
              <a:rPr lang="en-GB" sz="1000" dirty="0">
                <a:latin typeface="Arial" panose="020B0604020202020204" pitchFamily="34" charset="0"/>
                <a:cs typeface="Arial" panose="020B0604020202020204" pitchFamily="34" charset="0"/>
              </a:rPr>
              <a:t>step in excel has a parallel shift in interest rates</a:t>
            </a:r>
            <a:r>
              <a:rPr lang="ru-RU" sz="1000" b="1" baseline="30000" dirty="0">
                <a:latin typeface="Arial" panose="020B0604020202020204" pitchFamily="34" charset="0"/>
                <a:cs typeface="Arial" panose="020B0604020202020204" pitchFamily="34" charset="0"/>
              </a:rPr>
              <a:t> </a:t>
            </a:r>
            <a:endParaRPr lang="en-US" sz="1000" b="1" baseline="30000" dirty="0">
              <a:latin typeface="Arial" panose="020B0604020202020204" pitchFamily="34" charset="0"/>
              <a:cs typeface="Arial" panose="020B0604020202020204" pitchFamily="34" charset="0"/>
            </a:endParaRPr>
          </a:p>
          <a:p>
            <a:r>
              <a:rPr lang="en-US" sz="1000" b="1" baseline="30000" dirty="0">
                <a:latin typeface="Arial" panose="020B0604020202020204" pitchFamily="34" charset="0"/>
                <a:cs typeface="Arial" panose="020B0604020202020204" pitchFamily="34" charset="0"/>
              </a:rPr>
              <a:t>2</a:t>
            </a:r>
            <a:r>
              <a:rPr lang="ru-RU" sz="1000" b="1" baseline="30000" dirty="0">
                <a:latin typeface="Arial" panose="020B0604020202020204" pitchFamily="34" charset="0"/>
                <a:cs typeface="Arial" panose="020B0604020202020204" pitchFamily="34" charset="0"/>
              </a:rPr>
              <a:t> </a:t>
            </a:r>
            <a:r>
              <a:rPr lang="en-GB" sz="1000" dirty="0">
                <a:latin typeface="Arial" panose="020B0604020202020204" pitchFamily="34" charset="0"/>
                <a:cs typeface="Arial" panose="020B0604020202020204" pitchFamily="34" charset="0"/>
              </a:rPr>
              <a:t>For non-parallel shift banks calculate double dimensional interest rate gap (details on slide N 20)</a:t>
            </a:r>
          </a:p>
        </p:txBody>
      </p:sp>
      <p:graphicFrame>
        <p:nvGraphicFramePr>
          <p:cNvPr id="11" name="Chart 10">
            <a:extLst>
              <a:ext uri="{FF2B5EF4-FFF2-40B4-BE49-F238E27FC236}">
                <a16:creationId xmlns:a16="http://schemas.microsoft.com/office/drawing/2014/main" id="{B2FF438D-1B50-288E-3939-8606CECB8F6D}"/>
              </a:ext>
            </a:extLst>
          </p:cNvPr>
          <p:cNvGraphicFramePr>
            <a:graphicFrameLocks/>
          </p:cNvGraphicFramePr>
          <p:nvPr>
            <p:extLst>
              <p:ext uri="{D42A27DB-BD31-4B8C-83A1-F6EECF244321}">
                <p14:modId xmlns:p14="http://schemas.microsoft.com/office/powerpoint/2010/main" val="4241451132"/>
              </p:ext>
            </p:extLst>
          </p:nvPr>
        </p:nvGraphicFramePr>
        <p:xfrm>
          <a:off x="6095999" y="739763"/>
          <a:ext cx="5096754" cy="2731401"/>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9EBC456F-B5A9-419C-BE04-72F06FDA7584}"/>
              </a:ext>
            </a:extLst>
          </p:cNvPr>
          <p:cNvSpPr txBox="1"/>
          <p:nvPr/>
        </p:nvSpPr>
        <p:spPr>
          <a:xfrm>
            <a:off x="588626" y="3636158"/>
            <a:ext cx="5252879" cy="2031325"/>
          </a:xfrm>
          <a:prstGeom prst="rect">
            <a:avLst/>
          </a:prstGeom>
          <a:noFill/>
          <a:ln>
            <a:solidFill>
              <a:srgbClr val="002060"/>
            </a:solidFill>
          </a:ln>
        </p:spPr>
        <p:txBody>
          <a:bodyPr wrap="square" rtlCol="0">
            <a:spAutoFit/>
          </a:bodyPr>
          <a:lstStyle/>
          <a:p>
            <a:r>
              <a:rPr lang="en-US" sz="1400" b="1" dirty="0">
                <a:latin typeface="Arial" panose="020B0604020202020204" pitchFamily="34" charset="0"/>
                <a:cs typeface="Arial" panose="020B0604020202020204" pitchFamily="34" charset="0"/>
              </a:rPr>
              <a:t>3 step: calculate the effect on PL </a:t>
            </a:r>
            <a:r>
              <a:rPr lang="en-GB" sz="1400" b="1" dirty="0">
                <a:latin typeface="Arial" panose="020B0604020202020204" pitchFamily="34" charset="0"/>
                <a:cs typeface="Arial" panose="020B0604020202020204" pitchFamily="34" charset="0"/>
              </a:rPr>
              <a:t>(list “Interest rate sensitivity”, step 3.1 in excel) for all 6 types of interest rate curve shifts:</a:t>
            </a:r>
          </a:p>
          <a:p>
            <a:pPr marL="400050" indent="-400050">
              <a:buAutoNum type="romanLcParenBoth"/>
            </a:pPr>
            <a:r>
              <a:rPr lang="en-US" sz="1400" dirty="0">
                <a:latin typeface="Arial" panose="020B0604020202020204" pitchFamily="34" charset="0"/>
                <a:cs typeface="Arial" panose="020B0604020202020204" pitchFamily="34" charset="0"/>
              </a:rPr>
              <a:t>parallel shock up; </a:t>
            </a:r>
          </a:p>
          <a:p>
            <a:pPr marL="400050" indent="-400050">
              <a:buAutoNum type="romanLcParenBoth"/>
            </a:pPr>
            <a:r>
              <a:rPr lang="en-US" sz="1400" dirty="0">
                <a:latin typeface="Arial" panose="020B0604020202020204" pitchFamily="34" charset="0"/>
                <a:cs typeface="Arial" panose="020B0604020202020204" pitchFamily="34" charset="0"/>
              </a:rPr>
              <a:t>parallel shock down; </a:t>
            </a:r>
          </a:p>
          <a:p>
            <a:pPr marL="400050" indent="-400050">
              <a:buAutoNum type="romanLcParenBoth"/>
            </a:pPr>
            <a:r>
              <a:rPr lang="en-US" sz="1400" dirty="0" err="1">
                <a:latin typeface="Arial" panose="020B0604020202020204" pitchFamily="34" charset="0"/>
                <a:cs typeface="Arial" panose="020B0604020202020204" pitchFamily="34" charset="0"/>
              </a:rPr>
              <a:t>steepener</a:t>
            </a:r>
            <a:r>
              <a:rPr lang="en-US" sz="1400" dirty="0">
                <a:latin typeface="Arial" panose="020B0604020202020204" pitchFamily="34" charset="0"/>
                <a:cs typeface="Arial" panose="020B0604020202020204" pitchFamily="34" charset="0"/>
              </a:rPr>
              <a:t> shock (short rates down and long rates up)</a:t>
            </a:r>
            <a:r>
              <a:rPr lang="en-US" sz="1400" b="1" baseline="30000" dirty="0">
                <a:solidFill>
                  <a:schemeClr val="tx1"/>
                </a:solidFill>
              </a:rPr>
              <a:t>2</a:t>
            </a:r>
            <a:r>
              <a:rPr lang="en-US" sz="1400" dirty="0">
                <a:latin typeface="Arial" panose="020B0604020202020204" pitchFamily="34" charset="0"/>
                <a:cs typeface="Arial" panose="020B0604020202020204" pitchFamily="34" charset="0"/>
              </a:rPr>
              <a:t>; </a:t>
            </a:r>
          </a:p>
          <a:p>
            <a:pPr marL="400050" indent="-400050">
              <a:buAutoNum type="romanLcParenBoth"/>
            </a:pPr>
            <a:r>
              <a:rPr lang="en-US" sz="1400" dirty="0">
                <a:latin typeface="Arial" panose="020B0604020202020204" pitchFamily="34" charset="0"/>
                <a:cs typeface="Arial" panose="020B0604020202020204" pitchFamily="34" charset="0"/>
              </a:rPr>
              <a:t>flattener shock (short rates up and long rates down)</a:t>
            </a:r>
            <a:r>
              <a:rPr lang="en-US" sz="1400" b="1" baseline="30000" dirty="0">
                <a:solidFill>
                  <a:schemeClr val="tx1"/>
                </a:solidFill>
              </a:rPr>
              <a:t> 2</a:t>
            </a:r>
            <a:r>
              <a:rPr lang="en-US" sz="1400" dirty="0">
                <a:latin typeface="Arial" panose="020B0604020202020204" pitchFamily="34" charset="0"/>
                <a:cs typeface="Arial" panose="020B0604020202020204" pitchFamily="34" charset="0"/>
              </a:rPr>
              <a:t>; </a:t>
            </a:r>
          </a:p>
          <a:p>
            <a:pPr marL="400050" indent="-400050">
              <a:buAutoNum type="romanLcParenBoth"/>
            </a:pPr>
            <a:r>
              <a:rPr lang="en-US" sz="1400" dirty="0">
                <a:latin typeface="Arial" panose="020B0604020202020204" pitchFamily="34" charset="0"/>
                <a:cs typeface="Arial" panose="020B0604020202020204" pitchFamily="34" charset="0"/>
              </a:rPr>
              <a:t>short rates shock up</a:t>
            </a:r>
            <a:r>
              <a:rPr lang="en-US" sz="1400" b="1" baseline="30000" dirty="0">
                <a:solidFill>
                  <a:schemeClr val="tx1"/>
                </a:solidFill>
              </a:rPr>
              <a:t> 2</a:t>
            </a:r>
            <a:r>
              <a:rPr lang="en-US" sz="1400" dirty="0">
                <a:latin typeface="Arial" panose="020B0604020202020204" pitchFamily="34" charset="0"/>
                <a:cs typeface="Arial" panose="020B0604020202020204" pitchFamily="34" charset="0"/>
              </a:rPr>
              <a:t>; </a:t>
            </a:r>
          </a:p>
          <a:p>
            <a:pPr marL="400050" indent="-400050">
              <a:buAutoNum type="romanLcParenBoth"/>
            </a:pPr>
            <a:r>
              <a:rPr lang="en-US" sz="1400" dirty="0">
                <a:latin typeface="Arial" panose="020B0604020202020204" pitchFamily="34" charset="0"/>
                <a:cs typeface="Arial" panose="020B0604020202020204" pitchFamily="34" charset="0"/>
              </a:rPr>
              <a:t>short rates shock down</a:t>
            </a:r>
            <a:r>
              <a:rPr lang="en-US" sz="1400" b="1" baseline="30000" dirty="0">
                <a:solidFill>
                  <a:schemeClr val="tx1"/>
                </a:solidFill>
              </a:rPr>
              <a:t> 2</a:t>
            </a:r>
            <a:endParaRPr lang="en-NL" sz="1400" b="1"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8625A218-042A-4189-9755-9777A62C5EA6}"/>
              </a:ext>
            </a:extLst>
          </p:cNvPr>
          <p:cNvPicPr>
            <a:picLocks noChangeAspect="1"/>
          </p:cNvPicPr>
          <p:nvPr/>
        </p:nvPicPr>
        <p:blipFill>
          <a:blip r:embed="rId4"/>
          <a:stretch>
            <a:fillRect/>
          </a:stretch>
        </p:blipFill>
        <p:spPr>
          <a:xfrm>
            <a:off x="7250096" y="3607567"/>
            <a:ext cx="3559944" cy="3098353"/>
          </a:xfrm>
          <a:prstGeom prst="rect">
            <a:avLst/>
          </a:prstGeom>
        </p:spPr>
      </p:pic>
      <p:sp>
        <p:nvSpPr>
          <p:cNvPr id="12" name="Arrow: Right 11">
            <a:extLst>
              <a:ext uri="{FF2B5EF4-FFF2-40B4-BE49-F238E27FC236}">
                <a16:creationId xmlns:a16="http://schemas.microsoft.com/office/drawing/2014/main" id="{620F6558-3CC6-4F30-B3B7-548CD84FF264}"/>
              </a:ext>
            </a:extLst>
          </p:cNvPr>
          <p:cNvSpPr/>
          <p:nvPr/>
        </p:nvSpPr>
        <p:spPr>
          <a:xfrm>
            <a:off x="6027937" y="4902824"/>
            <a:ext cx="893685" cy="24622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3" name="TextBox 12">
            <a:extLst>
              <a:ext uri="{FF2B5EF4-FFF2-40B4-BE49-F238E27FC236}">
                <a16:creationId xmlns:a16="http://schemas.microsoft.com/office/drawing/2014/main" id="{16BA56AD-B511-423F-BF15-E0DDC142DC6C}"/>
              </a:ext>
            </a:extLst>
          </p:cNvPr>
          <p:cNvSpPr txBox="1"/>
          <p:nvPr/>
        </p:nvSpPr>
        <p:spPr>
          <a:xfrm>
            <a:off x="555719" y="5732944"/>
            <a:ext cx="6439885" cy="523220"/>
          </a:xfrm>
          <a:prstGeom prst="rect">
            <a:avLst/>
          </a:prstGeom>
          <a:noFill/>
        </p:spPr>
        <p:txBody>
          <a:bodyPr wrap="square" rtlCol="0">
            <a:spAutoFit/>
          </a:bodyPr>
          <a:lstStyle/>
          <a:p>
            <a:r>
              <a:rPr lang="en-US" sz="1400" dirty="0">
                <a:solidFill>
                  <a:srgbClr val="FF0000"/>
                </a:solidFill>
                <a:latin typeface="Arial" panose="020B0604020202020204" pitchFamily="34" charset="0"/>
                <a:cs typeface="Arial" panose="020B0604020202020204" pitchFamily="34" charset="0"/>
              </a:rPr>
              <a:t>!!!Even if for regulatory purposes, banks perform analysis on a 12m horizon, for internal purposes, banks expand the horizon for analysis up to 3-5 years </a:t>
            </a:r>
            <a:endParaRPr lang="en-NL" sz="1400"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217038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EFABB6-B9B3-4166-B229-4F8CFA0CBBE3}"/>
              </a:ext>
            </a:extLst>
          </p:cNvPr>
          <p:cNvSpPr>
            <a:spLocks noGrp="1"/>
          </p:cNvSpPr>
          <p:nvPr>
            <p:ph type="sldNum" sz="quarter" idx="12"/>
          </p:nvPr>
        </p:nvSpPr>
        <p:spPr/>
        <p:txBody>
          <a:bodyPr/>
          <a:lstStyle/>
          <a:p>
            <a:fld id="{48F63A3B-78C7-47BE-AE5E-E10140E04643}" type="slidenum">
              <a:rPr lang="en-US" smtClean="0"/>
              <a:t>17</a:t>
            </a:fld>
            <a:endParaRPr lang="en-US" dirty="0"/>
          </a:p>
        </p:txBody>
      </p:sp>
      <p:sp>
        <p:nvSpPr>
          <p:cNvPr id="3" name="TextBox 2">
            <a:extLst>
              <a:ext uri="{FF2B5EF4-FFF2-40B4-BE49-F238E27FC236}">
                <a16:creationId xmlns:a16="http://schemas.microsoft.com/office/drawing/2014/main" id="{883B87B3-D1D2-4A3B-97F2-6F7840DB0C96}"/>
              </a:ext>
            </a:extLst>
          </p:cNvPr>
          <p:cNvSpPr txBox="1"/>
          <p:nvPr/>
        </p:nvSpPr>
        <p:spPr>
          <a:xfrm>
            <a:off x="381959" y="213126"/>
            <a:ext cx="11949124" cy="477054"/>
          </a:xfrm>
          <a:prstGeom prst="rect">
            <a:avLst/>
          </a:prstGeom>
          <a:noFill/>
        </p:spPr>
        <p:txBody>
          <a:bodyPr wrap="square" rtlCol="0">
            <a:spAutoFit/>
          </a:bodyPr>
          <a:lstStyle/>
          <a:p>
            <a:pPr defTabSz="1217692">
              <a:defRPr/>
            </a:pPr>
            <a:r>
              <a:rPr lang="en-GB" sz="2500" b="1" kern="0" dirty="0">
                <a:solidFill>
                  <a:srgbClr val="1F4E79"/>
                </a:solidFill>
                <a:latin typeface="Calibri" panose="020F0502020204030204" pitchFamily="34" charset="0"/>
                <a:ea typeface="等线" panose="02010600030101010101" pitchFamily="2" charset="-122"/>
                <a:cs typeface="Calibri" panose="020F0502020204030204" pitchFamily="34" charset="0"/>
              </a:rPr>
              <a:t>∆ </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NII calc on one-dimensional interest rate gap vs two-dimensional interest rate gap</a:t>
            </a:r>
          </a:p>
        </p:txBody>
      </p:sp>
      <mc:AlternateContent xmlns:mc="http://schemas.openxmlformats.org/markup-compatibility/2006" xmlns:a14="http://schemas.microsoft.com/office/drawing/2010/main">
        <mc:Choice Requires="a14">
          <p:sp>
            <p:nvSpPr>
              <p:cNvPr id="6" name="TextBox 5">
                <a:extLst>
                  <a:ext uri="{FF2B5EF4-FFF2-40B4-BE49-F238E27FC236}">
                    <a16:creationId xmlns:a16="http://schemas.microsoft.com/office/drawing/2014/main" id="{71D31709-4D55-4C34-ADBC-AA0A4AD2523F}"/>
                  </a:ext>
                </a:extLst>
              </p:cNvPr>
              <p:cNvSpPr txBox="1"/>
              <p:nvPr/>
            </p:nvSpPr>
            <p:spPr>
              <a:xfrm>
                <a:off x="657167" y="1638585"/>
                <a:ext cx="2572884" cy="756169"/>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GB" kern="0" dirty="0" smtClean="0">
                          <a:solidFill>
                            <a:schemeClr val="tx1"/>
                          </a:solidFill>
                          <a:latin typeface="Calibri" panose="020F0502020204030204" pitchFamily="34" charset="0"/>
                          <a:ea typeface="等线" panose="02010600030101010101" pitchFamily="2" charset="-122"/>
                          <a:cs typeface="Calibri" panose="020F0502020204030204" pitchFamily="34" charset="0"/>
                        </a:rPr>
                        <m:t>∆</m:t>
                      </m:r>
                      <m:r>
                        <a:rPr lang="en-US" b="0" i="1" kern="0" dirty="0" smtClean="0">
                          <a:solidFill>
                            <a:schemeClr val="tx1"/>
                          </a:solidFill>
                          <a:latin typeface="Cambria Math" panose="02040503050406030204" pitchFamily="18" charset="0"/>
                          <a:ea typeface="等线" panose="02010600030101010101" pitchFamily="2" charset="-122"/>
                          <a:cs typeface="Calibri" panose="020F0502020204030204" pitchFamily="34" charset="0"/>
                        </a:rPr>
                        <m:t>𝑁𝐼𝐼</m:t>
                      </m:r>
                      <m:r>
                        <a:rPr lang="en-US" b="0" i="1" kern="0" dirty="0" smtClean="0">
                          <a:solidFill>
                            <a:schemeClr val="tx1"/>
                          </a:solidFill>
                          <a:latin typeface="Cambria Math" panose="02040503050406030204" pitchFamily="18" charset="0"/>
                          <a:ea typeface="等线" panose="02010600030101010101" pitchFamily="2" charset="-122"/>
                          <a:cs typeface="Calibri" panose="020F0502020204030204" pitchFamily="34" charset="0"/>
                        </a:rPr>
                        <m:t>=1%∗</m:t>
                      </m:r>
                      <m:nary>
                        <m:naryPr>
                          <m:chr m:val="∑"/>
                          <m:ctrlPr>
                            <a:rPr lang="pt-BR" i="1" smtClean="0">
                              <a:solidFill>
                                <a:schemeClr val="tx1"/>
                              </a:solidFill>
                              <a:latin typeface="Cambria Math" panose="02040503050406030204" pitchFamily="18" charset="0"/>
                            </a:rPr>
                          </m:ctrlPr>
                        </m:naryPr>
                        <m:sub>
                          <m:r>
                            <a:rPr lang="pt-BR" b="0" i="1" smtClean="0">
                              <a:solidFill>
                                <a:schemeClr val="tx1"/>
                              </a:solidFill>
                              <a:latin typeface="Cambria Math" panose="02040503050406030204" pitchFamily="18" charset="0"/>
                            </a:rPr>
                            <m:t>𝑘</m:t>
                          </m:r>
                          <m:r>
                            <a:rPr lang="pt-BR" b="0" i="1" smtClean="0">
                              <a:solidFill>
                                <a:schemeClr val="tx1"/>
                              </a:solidFill>
                              <a:latin typeface="Cambria Math" panose="02040503050406030204" pitchFamily="18" charset="0"/>
                            </a:rPr>
                            <m:t>=1</m:t>
                          </m:r>
                        </m:sub>
                        <m:sup>
                          <m:r>
                            <a:rPr lang="pt-BR" b="0" i="1" smtClean="0">
                              <a:solidFill>
                                <a:schemeClr val="tx1"/>
                              </a:solidFill>
                              <a:latin typeface="Cambria Math" panose="02040503050406030204" pitchFamily="18" charset="0"/>
                            </a:rPr>
                            <m:t>𝑛</m:t>
                          </m:r>
                        </m:sup>
                        <m:e>
                          <m:r>
                            <a:rPr lang="en-US" b="0" i="1" smtClean="0">
                              <a:solidFill>
                                <a:schemeClr val="tx1"/>
                              </a:solidFill>
                              <a:latin typeface="Cambria Math" panose="02040503050406030204" pitchFamily="18" charset="0"/>
                            </a:rPr>
                            <m:t>𝐶𝐹</m:t>
                          </m:r>
                          <m:r>
                            <a:rPr lang="en-US" b="0" i="1" baseline="-25000" smtClean="0">
                              <a:solidFill>
                                <a:schemeClr val="tx1"/>
                              </a:solidFill>
                              <a:latin typeface="Cambria Math" panose="02040503050406030204" pitchFamily="18" charset="0"/>
                            </a:rPr>
                            <m:t>𝑘</m:t>
                          </m:r>
                          <m:r>
                            <a:rPr lang="en-US" b="0" i="1" smtClean="0">
                              <a:solidFill>
                                <a:schemeClr val="tx1"/>
                              </a:solidFill>
                              <a:latin typeface="Cambria Math" panose="02040503050406030204" pitchFamily="18" charset="0"/>
                            </a:rPr>
                            <m:t>∗</m:t>
                          </m:r>
                          <m:r>
                            <a:rPr lang="en-US" b="0" i="1" smtClean="0">
                              <a:solidFill>
                                <a:schemeClr val="tx1"/>
                              </a:solidFill>
                              <a:latin typeface="Cambria Math" panose="02040503050406030204" pitchFamily="18" charset="0"/>
                            </a:rPr>
                            <m:t>𝑡𝑘</m:t>
                          </m:r>
                        </m:e>
                      </m:nary>
                    </m:oMath>
                  </m:oMathPara>
                </a14:m>
                <a:endParaRPr lang="en-NL" dirty="0">
                  <a:solidFill>
                    <a:schemeClr val="tx1"/>
                  </a:solidFill>
                </a:endParaRPr>
              </a:p>
            </p:txBody>
          </p:sp>
        </mc:Choice>
        <mc:Fallback xmlns="">
          <p:sp>
            <p:nvSpPr>
              <p:cNvPr id="6" name="TextBox 5">
                <a:extLst>
                  <a:ext uri="{FF2B5EF4-FFF2-40B4-BE49-F238E27FC236}">
                    <a16:creationId xmlns:a16="http://schemas.microsoft.com/office/drawing/2014/main" id="{71D31709-4D55-4C34-ADBC-AA0A4AD2523F}"/>
                  </a:ext>
                </a:extLst>
              </p:cNvPr>
              <p:cNvSpPr txBox="1">
                <a:spLocks noRot="1" noChangeAspect="1" noMove="1" noResize="1" noEditPoints="1" noAdjustHandles="1" noChangeArrowheads="1" noChangeShapeType="1" noTextEdit="1"/>
              </p:cNvSpPr>
              <p:nvPr/>
            </p:nvSpPr>
            <p:spPr>
              <a:xfrm>
                <a:off x="657167" y="1638585"/>
                <a:ext cx="2572884" cy="756169"/>
              </a:xfrm>
              <a:prstGeom prst="rect">
                <a:avLst/>
              </a:prstGeom>
              <a:blipFill>
                <a:blip r:embed="rId2"/>
                <a:stretch>
                  <a:fillRect/>
                </a:stretch>
              </a:blipFill>
            </p:spPr>
            <p:txBody>
              <a:bodyPr/>
              <a:lstStyle/>
              <a:p>
                <a:r>
                  <a:rPr lang="en-NL">
                    <a:noFill/>
                  </a:rPr>
                  <a:t> </a:t>
                </a:r>
              </a:p>
            </p:txBody>
          </p:sp>
        </mc:Fallback>
      </mc:AlternateContent>
      <p:sp>
        <p:nvSpPr>
          <p:cNvPr id="7" name="TextBox 6">
            <a:extLst>
              <a:ext uri="{FF2B5EF4-FFF2-40B4-BE49-F238E27FC236}">
                <a16:creationId xmlns:a16="http://schemas.microsoft.com/office/drawing/2014/main" id="{9553823D-25F9-4338-8CFF-88676D4B8CD0}"/>
              </a:ext>
            </a:extLst>
          </p:cNvPr>
          <p:cNvSpPr txBox="1"/>
          <p:nvPr/>
        </p:nvSpPr>
        <p:spPr>
          <a:xfrm>
            <a:off x="469842" y="985421"/>
            <a:ext cx="3809195" cy="646331"/>
          </a:xfrm>
          <a:prstGeom prst="rect">
            <a:avLst/>
          </a:prstGeom>
          <a:noFill/>
        </p:spPr>
        <p:txBody>
          <a:bodyPr wrap="square" rtlCol="0">
            <a:spAutoFit/>
          </a:bodyPr>
          <a:lstStyle/>
          <a:p>
            <a:r>
              <a:rPr lang="en-US" dirty="0"/>
              <a:t>One-dimensional gap:</a:t>
            </a:r>
          </a:p>
          <a:p>
            <a:pPr marL="285750" indent="-285750">
              <a:buFont typeface="Arial" panose="020B0604020202020204" pitchFamily="34" charset="0"/>
              <a:buChar char="•"/>
            </a:pPr>
            <a:r>
              <a:rPr lang="en-US" dirty="0"/>
              <a:t>Can be used only for a parallel shift</a:t>
            </a:r>
            <a:endParaRPr lang="en-NL" dirty="0"/>
          </a:p>
        </p:txBody>
      </p:sp>
      <p:sp>
        <p:nvSpPr>
          <p:cNvPr id="9" name="Arrow: Right 8">
            <a:extLst>
              <a:ext uri="{FF2B5EF4-FFF2-40B4-BE49-F238E27FC236}">
                <a16:creationId xmlns:a16="http://schemas.microsoft.com/office/drawing/2014/main" id="{F862E89A-04D9-42DC-8E11-7E5508016823}"/>
              </a:ext>
            </a:extLst>
          </p:cNvPr>
          <p:cNvSpPr/>
          <p:nvPr/>
        </p:nvSpPr>
        <p:spPr>
          <a:xfrm>
            <a:off x="4296793" y="1562520"/>
            <a:ext cx="2361460" cy="29524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2254E375-2FB3-4511-9C58-9442856C2042}"/>
                  </a:ext>
                </a:extLst>
              </p:cNvPr>
              <p:cNvSpPr txBox="1"/>
              <p:nvPr/>
            </p:nvSpPr>
            <p:spPr>
              <a:xfrm>
                <a:off x="7244678" y="1638585"/>
                <a:ext cx="3293116" cy="756169"/>
              </a:xfrm>
              <a:prstGeom prst="rect">
                <a:avLst/>
              </a:prstGeom>
              <a:noFill/>
            </p:spPr>
            <p:txBody>
              <a:bodyPr wrap="square" lIns="0" tIns="0" rIns="0" bIns="0" rtlCol="0">
                <a:spAutoFit/>
              </a:bodyPr>
              <a:lstStyle/>
              <a:p>
                <a:pPr/>
                <a14:m>
                  <m:oMathPara xmlns:m="http://schemas.openxmlformats.org/officeDocument/2006/math">
                    <m:oMathParaPr>
                      <m:jc m:val="centerGroup"/>
                    </m:oMathParaPr>
                    <m:oMath xmlns:m="http://schemas.openxmlformats.org/officeDocument/2006/math">
                      <m:r>
                        <m:rPr>
                          <m:nor/>
                        </m:rPr>
                        <a:rPr lang="en-GB" kern="0" dirty="0" smtClean="0">
                          <a:solidFill>
                            <a:schemeClr val="tx1"/>
                          </a:solidFill>
                          <a:latin typeface="Calibri" panose="020F0502020204030204" pitchFamily="34" charset="0"/>
                          <a:ea typeface="等线" panose="02010600030101010101" pitchFamily="2" charset="-122"/>
                          <a:cs typeface="Calibri" panose="020F0502020204030204" pitchFamily="34" charset="0"/>
                        </a:rPr>
                        <m:t>∆</m:t>
                      </m:r>
                      <m:r>
                        <a:rPr lang="en-US" b="0" i="1" kern="0" dirty="0" smtClean="0">
                          <a:solidFill>
                            <a:schemeClr val="tx1"/>
                          </a:solidFill>
                          <a:latin typeface="Cambria Math" panose="02040503050406030204" pitchFamily="18" charset="0"/>
                          <a:ea typeface="等线" panose="02010600030101010101" pitchFamily="2" charset="-122"/>
                          <a:cs typeface="Calibri" panose="020F0502020204030204" pitchFamily="34" charset="0"/>
                        </a:rPr>
                        <m:t>𝑁𝐼𝐼</m:t>
                      </m:r>
                      <m:r>
                        <a:rPr lang="en-US" b="0" i="1" kern="0" dirty="0" smtClean="0">
                          <a:solidFill>
                            <a:schemeClr val="tx1"/>
                          </a:solidFill>
                          <a:latin typeface="Cambria Math" panose="02040503050406030204" pitchFamily="18" charset="0"/>
                          <a:ea typeface="等线" panose="02010600030101010101" pitchFamily="2" charset="-122"/>
                          <a:cs typeface="Calibri" panose="020F0502020204030204" pitchFamily="34" charset="0"/>
                        </a:rPr>
                        <m:t>=</m:t>
                      </m:r>
                      <m:nary>
                        <m:naryPr>
                          <m:chr m:val="∑"/>
                          <m:ctrlPr>
                            <a:rPr lang="pt-BR" i="1">
                              <a:latin typeface="Cambria Math" panose="02040503050406030204" pitchFamily="18" charset="0"/>
                            </a:rPr>
                          </m:ctrlPr>
                        </m:naryPr>
                        <m:sub>
                          <m:r>
                            <a:rPr lang="en-US" b="0" i="1" smtClean="0">
                              <a:latin typeface="Cambria Math" panose="02040503050406030204" pitchFamily="18" charset="0"/>
                            </a:rPr>
                            <m:t>𝑖</m:t>
                          </m:r>
                          <m:r>
                            <a:rPr lang="pt-BR" i="1">
                              <a:latin typeface="Cambria Math" panose="02040503050406030204" pitchFamily="18" charset="0"/>
                            </a:rPr>
                            <m:t>=1</m:t>
                          </m:r>
                        </m:sub>
                        <m:sup>
                          <m:r>
                            <a:rPr lang="en-US" b="0" i="1" smtClean="0">
                              <a:latin typeface="Cambria Math" panose="02040503050406030204" pitchFamily="18" charset="0"/>
                            </a:rPr>
                            <m:t>𝑚</m:t>
                          </m:r>
                        </m:sup>
                        <m:e>
                          <m:r>
                            <a:rPr lang="en-US" b="0" i="1" smtClean="0">
                              <a:latin typeface="Cambria Math" panose="02040503050406030204" pitchFamily="18" charset="0"/>
                            </a:rPr>
                            <m:t> </m:t>
                          </m:r>
                        </m:e>
                      </m:nary>
                      <m:nary>
                        <m:naryPr>
                          <m:chr m:val="∑"/>
                          <m:ctrlPr>
                            <a:rPr lang="pt-BR" i="1" smtClean="0">
                              <a:solidFill>
                                <a:schemeClr val="tx1"/>
                              </a:solidFill>
                              <a:latin typeface="Cambria Math" panose="02040503050406030204" pitchFamily="18" charset="0"/>
                            </a:rPr>
                          </m:ctrlPr>
                        </m:naryPr>
                        <m:sub>
                          <m:r>
                            <a:rPr lang="pt-BR" i="1" smtClean="0">
                              <a:solidFill>
                                <a:schemeClr val="tx1"/>
                              </a:solidFill>
                              <a:latin typeface="Cambria Math" panose="02040503050406030204" pitchFamily="18" charset="0"/>
                            </a:rPr>
                            <m:t>𝑘</m:t>
                          </m:r>
                          <m:r>
                            <a:rPr lang="pt-BR" i="1" smtClean="0">
                              <a:solidFill>
                                <a:schemeClr val="tx1"/>
                              </a:solidFill>
                              <a:latin typeface="Cambria Math" panose="02040503050406030204" pitchFamily="18" charset="0"/>
                            </a:rPr>
                            <m:t>=1</m:t>
                          </m:r>
                        </m:sub>
                        <m:sup>
                          <m:r>
                            <a:rPr lang="pt-BR" i="1" smtClean="0">
                              <a:solidFill>
                                <a:schemeClr val="tx1"/>
                              </a:solidFill>
                              <a:latin typeface="Cambria Math" panose="02040503050406030204" pitchFamily="18" charset="0"/>
                            </a:rPr>
                            <m:t>𝑛</m:t>
                          </m:r>
                        </m:sup>
                        <m:e>
                          <m:r>
                            <a:rPr lang="en-US" b="0" i="1" smtClean="0">
                              <a:solidFill>
                                <a:schemeClr val="tx1"/>
                              </a:solidFill>
                              <a:latin typeface="Cambria Math" panose="02040503050406030204" pitchFamily="18" charset="0"/>
                            </a:rPr>
                            <m:t>𝐶𝐹</m:t>
                          </m:r>
                          <m:r>
                            <a:rPr lang="en-US" b="0" i="1" baseline="-25000" smtClean="0">
                              <a:solidFill>
                                <a:schemeClr val="tx1"/>
                              </a:solidFill>
                              <a:latin typeface="Cambria Math" panose="02040503050406030204" pitchFamily="18" charset="0"/>
                            </a:rPr>
                            <m:t>𝑖𝑘</m:t>
                          </m:r>
                          <m:r>
                            <a:rPr lang="en-US" b="0" i="1" smtClean="0">
                              <a:solidFill>
                                <a:schemeClr val="tx1"/>
                              </a:solidFill>
                              <a:latin typeface="Cambria Math" panose="02040503050406030204" pitchFamily="18" charset="0"/>
                            </a:rPr>
                            <m:t>∗</m:t>
                          </m:r>
                          <m:r>
                            <a:rPr lang="en-US" b="0" i="1" smtClean="0">
                              <a:solidFill>
                                <a:schemeClr val="tx1"/>
                              </a:solidFill>
                              <a:latin typeface="Cambria Math" panose="02040503050406030204" pitchFamily="18" charset="0"/>
                            </a:rPr>
                            <m:t>𝑡𝑘</m:t>
                          </m:r>
                          <m:r>
                            <a:rPr lang="en-US" i="1">
                              <a:latin typeface="Cambria Math" panose="02040503050406030204" pitchFamily="18" charset="0"/>
                            </a:rPr>
                            <m:t>∗</m:t>
                          </m:r>
                          <m:r>
                            <m:rPr>
                              <m:nor/>
                            </m:rPr>
                            <a:rPr lang="en-GB" kern="0" dirty="0">
                              <a:latin typeface="Calibri" panose="020F0502020204030204" pitchFamily="34" charset="0"/>
                              <a:ea typeface="等线" panose="02010600030101010101" pitchFamily="2" charset="-122"/>
                              <a:cs typeface="Calibri" panose="020F0502020204030204" pitchFamily="34" charset="0"/>
                            </a:rPr>
                            <m:t>∆</m:t>
                          </m:r>
                          <m:r>
                            <a:rPr lang="en-US" b="0" i="1" kern="0" dirty="0" smtClean="0">
                              <a:latin typeface="Cambria Math" panose="02040503050406030204" pitchFamily="18" charset="0"/>
                              <a:ea typeface="等线" panose="02010600030101010101" pitchFamily="2" charset="-122"/>
                              <a:cs typeface="Calibri" panose="020F0502020204030204" pitchFamily="34" charset="0"/>
                            </a:rPr>
                            <m:t>𝑅</m:t>
                          </m:r>
                          <m:r>
                            <a:rPr lang="en-US" b="0" i="1" kern="0" baseline="-25000" dirty="0" smtClean="0">
                              <a:latin typeface="Cambria Math" panose="02040503050406030204" pitchFamily="18" charset="0"/>
                              <a:ea typeface="等线" panose="02010600030101010101" pitchFamily="2" charset="-122"/>
                              <a:cs typeface="Calibri" panose="020F0502020204030204" pitchFamily="34" charset="0"/>
                            </a:rPr>
                            <m:t>𝑖</m:t>
                          </m:r>
                        </m:e>
                      </m:nary>
                    </m:oMath>
                  </m:oMathPara>
                </a14:m>
                <a:endParaRPr lang="en-NL" dirty="0">
                  <a:solidFill>
                    <a:schemeClr val="tx1"/>
                  </a:solidFill>
                </a:endParaRPr>
              </a:p>
            </p:txBody>
          </p:sp>
        </mc:Choice>
        <mc:Fallback xmlns="">
          <p:sp>
            <p:nvSpPr>
              <p:cNvPr id="10" name="TextBox 9">
                <a:extLst>
                  <a:ext uri="{FF2B5EF4-FFF2-40B4-BE49-F238E27FC236}">
                    <a16:creationId xmlns:a16="http://schemas.microsoft.com/office/drawing/2014/main" id="{2254E375-2FB3-4511-9C58-9442856C2042}"/>
                  </a:ext>
                </a:extLst>
              </p:cNvPr>
              <p:cNvSpPr txBox="1">
                <a:spLocks noRot="1" noChangeAspect="1" noMove="1" noResize="1" noEditPoints="1" noAdjustHandles="1" noChangeArrowheads="1" noChangeShapeType="1" noTextEdit="1"/>
              </p:cNvSpPr>
              <p:nvPr/>
            </p:nvSpPr>
            <p:spPr>
              <a:xfrm>
                <a:off x="7244678" y="1638585"/>
                <a:ext cx="3293116" cy="756169"/>
              </a:xfrm>
              <a:prstGeom prst="rect">
                <a:avLst/>
              </a:prstGeom>
              <a:blipFill>
                <a:blip r:embed="rId3"/>
                <a:stretch>
                  <a:fillRect/>
                </a:stretch>
              </a:blipFill>
            </p:spPr>
            <p:txBody>
              <a:bodyPr/>
              <a:lstStyle/>
              <a:p>
                <a:r>
                  <a:rPr lang="en-NL">
                    <a:noFill/>
                  </a:rPr>
                  <a:t> </a:t>
                </a:r>
              </a:p>
            </p:txBody>
          </p:sp>
        </mc:Fallback>
      </mc:AlternateContent>
      <p:sp>
        <p:nvSpPr>
          <p:cNvPr id="11" name="TextBox 10">
            <a:extLst>
              <a:ext uri="{FF2B5EF4-FFF2-40B4-BE49-F238E27FC236}">
                <a16:creationId xmlns:a16="http://schemas.microsoft.com/office/drawing/2014/main" id="{75116657-C492-4787-B89F-2E382C74A770}"/>
              </a:ext>
            </a:extLst>
          </p:cNvPr>
          <p:cNvSpPr txBox="1"/>
          <p:nvPr/>
        </p:nvSpPr>
        <p:spPr>
          <a:xfrm>
            <a:off x="7057353" y="985421"/>
            <a:ext cx="3809195" cy="646331"/>
          </a:xfrm>
          <a:prstGeom prst="rect">
            <a:avLst/>
          </a:prstGeom>
          <a:noFill/>
        </p:spPr>
        <p:txBody>
          <a:bodyPr wrap="square" rtlCol="0">
            <a:spAutoFit/>
          </a:bodyPr>
          <a:lstStyle/>
          <a:p>
            <a:r>
              <a:rPr lang="en-US" dirty="0"/>
              <a:t>Two-dimensional gap:</a:t>
            </a:r>
          </a:p>
          <a:p>
            <a:pPr marL="285750" indent="-285750">
              <a:buFont typeface="Arial" panose="020B0604020202020204" pitchFamily="34" charset="0"/>
              <a:buChar char="•"/>
            </a:pPr>
            <a:r>
              <a:rPr lang="en-US" dirty="0"/>
              <a:t>Used for non-parallel shift</a:t>
            </a:r>
            <a:endParaRPr lang="en-NL" dirty="0"/>
          </a:p>
        </p:txBody>
      </p:sp>
      <p:sp>
        <p:nvSpPr>
          <p:cNvPr id="15" name="Rectangle 14">
            <a:extLst>
              <a:ext uri="{FF2B5EF4-FFF2-40B4-BE49-F238E27FC236}">
                <a16:creationId xmlns:a16="http://schemas.microsoft.com/office/drawing/2014/main" id="{E6217700-48BD-4F57-ABEE-041604653B78}"/>
              </a:ext>
            </a:extLst>
          </p:cNvPr>
          <p:cNvSpPr/>
          <p:nvPr/>
        </p:nvSpPr>
        <p:spPr>
          <a:xfrm>
            <a:off x="8939813" y="1793290"/>
            <a:ext cx="506028" cy="479394"/>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cxnSp>
        <p:nvCxnSpPr>
          <p:cNvPr id="17" name="Straight Arrow Connector 16">
            <a:extLst>
              <a:ext uri="{FF2B5EF4-FFF2-40B4-BE49-F238E27FC236}">
                <a16:creationId xmlns:a16="http://schemas.microsoft.com/office/drawing/2014/main" id="{3EE0A07F-DE4D-4BE0-AC12-E01AFA9531B8}"/>
              </a:ext>
            </a:extLst>
          </p:cNvPr>
          <p:cNvCxnSpPr>
            <a:cxnSpLocks/>
            <a:stCxn id="15" idx="2"/>
          </p:cNvCxnSpPr>
          <p:nvPr/>
        </p:nvCxnSpPr>
        <p:spPr>
          <a:xfrm flipH="1">
            <a:off x="7350710" y="2272684"/>
            <a:ext cx="1842117" cy="870011"/>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E9D36FD0-7880-46B9-BE12-852B3DFACF76}"/>
              </a:ext>
            </a:extLst>
          </p:cNvPr>
          <p:cNvPicPr>
            <a:picLocks noChangeAspect="1"/>
          </p:cNvPicPr>
          <p:nvPr/>
        </p:nvPicPr>
        <p:blipFill>
          <a:blip r:embed="rId4"/>
          <a:stretch>
            <a:fillRect/>
          </a:stretch>
        </p:blipFill>
        <p:spPr>
          <a:xfrm>
            <a:off x="1213075" y="3315155"/>
            <a:ext cx="8946324" cy="2179889"/>
          </a:xfrm>
          <a:prstGeom prst="rect">
            <a:avLst/>
          </a:prstGeom>
          <a:ln>
            <a:noFill/>
          </a:ln>
        </p:spPr>
      </p:pic>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A3D901E1-D7CE-442B-B7D6-9C2E29C94163}"/>
                  </a:ext>
                </a:extLst>
              </p:cNvPr>
              <p:cNvSpPr txBox="1"/>
              <p:nvPr/>
            </p:nvSpPr>
            <p:spPr>
              <a:xfrm>
                <a:off x="161561" y="4292354"/>
                <a:ext cx="991212" cy="369332"/>
              </a:xfrm>
              <a:prstGeom prst="rect">
                <a:avLst/>
              </a:prstGeom>
              <a:noFill/>
            </p:spPr>
            <p:txBody>
              <a:bodyPr wrap="square">
                <a:spAutoFit/>
              </a:bodyPr>
              <a:lstStyle/>
              <a:p>
                <a14:m>
                  <m:oMath xmlns:m="http://schemas.openxmlformats.org/officeDocument/2006/math">
                    <m:r>
                      <m:rPr>
                        <m:nor/>
                      </m:rPr>
                      <a:rPr lang="en-GB" kern="0" dirty="0" smtClean="0">
                        <a:solidFill>
                          <a:schemeClr val="tx1"/>
                        </a:solidFill>
                        <a:latin typeface="Calibri" panose="020F0502020204030204" pitchFamily="34" charset="0"/>
                        <a:ea typeface="等线" panose="02010600030101010101" pitchFamily="2" charset="-122"/>
                        <a:cs typeface="Calibri" panose="020F0502020204030204" pitchFamily="34" charset="0"/>
                      </a:rPr>
                      <m:t>∆</m:t>
                    </m:r>
                    <m:r>
                      <a:rPr lang="en-US" b="0" i="1" kern="0" dirty="0" smtClean="0">
                        <a:solidFill>
                          <a:schemeClr val="tx1"/>
                        </a:solidFill>
                        <a:latin typeface="Cambria Math" panose="02040503050406030204" pitchFamily="18" charset="0"/>
                        <a:ea typeface="等线" panose="02010600030101010101" pitchFamily="2" charset="-122"/>
                        <a:cs typeface="Calibri" panose="020F0502020204030204" pitchFamily="34" charset="0"/>
                      </a:rPr>
                      <m:t>𝑁𝐼𝐼</m:t>
                    </m:r>
                  </m:oMath>
                </a14:m>
                <a:r>
                  <a:rPr lang="en-US" dirty="0"/>
                  <a:t> = </a:t>
                </a:r>
                <a:endParaRPr lang="en-NL" dirty="0"/>
              </a:p>
            </p:txBody>
          </p:sp>
        </mc:Choice>
        <mc:Fallback xmlns="">
          <p:sp>
            <p:nvSpPr>
              <p:cNvPr id="21" name="TextBox 20">
                <a:extLst>
                  <a:ext uri="{FF2B5EF4-FFF2-40B4-BE49-F238E27FC236}">
                    <a16:creationId xmlns:a16="http://schemas.microsoft.com/office/drawing/2014/main" id="{A3D901E1-D7CE-442B-B7D6-9C2E29C94163}"/>
                  </a:ext>
                </a:extLst>
              </p:cNvPr>
              <p:cNvSpPr txBox="1">
                <a:spLocks noRot="1" noChangeAspect="1" noMove="1" noResize="1" noEditPoints="1" noAdjustHandles="1" noChangeArrowheads="1" noChangeShapeType="1" noTextEdit="1"/>
              </p:cNvSpPr>
              <p:nvPr/>
            </p:nvSpPr>
            <p:spPr>
              <a:xfrm>
                <a:off x="161561" y="4292354"/>
                <a:ext cx="991212" cy="369332"/>
              </a:xfrm>
              <a:prstGeom prst="rect">
                <a:avLst/>
              </a:prstGeom>
              <a:blipFill>
                <a:blip r:embed="rId5"/>
                <a:stretch>
                  <a:fillRect t="-8197" b="-24590"/>
                </a:stretch>
              </a:blipFill>
            </p:spPr>
            <p:txBody>
              <a:bodyPr/>
              <a:lstStyle/>
              <a:p>
                <a:r>
                  <a:rPr lang="en-NL">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5DED1613-F425-403B-900C-6746670A4E2E}"/>
                  </a:ext>
                </a:extLst>
              </p:cNvPr>
              <p:cNvSpPr txBox="1"/>
              <p:nvPr/>
            </p:nvSpPr>
            <p:spPr>
              <a:xfrm>
                <a:off x="10340304" y="4056091"/>
                <a:ext cx="1135176"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r>
                        <a:rPr lang="en-US" i="1">
                          <a:latin typeface="Cambria Math" panose="02040503050406030204" pitchFamily="18" charset="0"/>
                        </a:rPr>
                        <m:t>∗</m:t>
                      </m:r>
                      <m:r>
                        <a:rPr lang="en-US" i="1">
                          <a:latin typeface="Cambria Math" panose="02040503050406030204" pitchFamily="18" charset="0"/>
                        </a:rPr>
                        <m:t>𝑡𝑘</m:t>
                      </m:r>
                      <m:r>
                        <a:rPr lang="en-US" i="1" smtClean="0">
                          <a:latin typeface="Cambria Math" panose="02040503050406030204" pitchFamily="18" charset="0"/>
                        </a:rPr>
                        <m:t>∗</m:t>
                      </m:r>
                      <m:r>
                        <m:rPr>
                          <m:nor/>
                        </m:rPr>
                        <a:rPr lang="en-GB" kern="0" dirty="0">
                          <a:latin typeface="Calibri" panose="020F0502020204030204" pitchFamily="34" charset="0"/>
                          <a:ea typeface="等线" panose="02010600030101010101" pitchFamily="2" charset="-122"/>
                          <a:cs typeface="Calibri" panose="020F0502020204030204" pitchFamily="34" charset="0"/>
                        </a:rPr>
                        <m:t>∆</m:t>
                      </m:r>
                      <m:r>
                        <a:rPr lang="en-US" b="0" i="1" kern="0" dirty="0" smtClean="0">
                          <a:latin typeface="Cambria Math" panose="02040503050406030204" pitchFamily="18" charset="0"/>
                          <a:ea typeface="等线" panose="02010600030101010101" pitchFamily="2" charset="-122"/>
                          <a:cs typeface="Calibri" panose="020F0502020204030204" pitchFamily="34" charset="0"/>
                        </a:rPr>
                        <m:t>𝑅</m:t>
                      </m:r>
                      <m:r>
                        <a:rPr lang="en-US" b="0" i="1" kern="0" baseline="-25000" dirty="0" smtClean="0">
                          <a:latin typeface="Cambria Math" panose="02040503050406030204" pitchFamily="18" charset="0"/>
                          <a:ea typeface="等线" panose="02010600030101010101" pitchFamily="2" charset="-122"/>
                          <a:cs typeface="Calibri" panose="020F0502020204030204" pitchFamily="34" charset="0"/>
                        </a:rPr>
                        <m:t>𝑖</m:t>
                      </m:r>
                    </m:oMath>
                  </m:oMathPara>
                </a14:m>
                <a:endParaRPr lang="en-NL" dirty="0"/>
              </a:p>
            </p:txBody>
          </p:sp>
        </mc:Choice>
        <mc:Fallback xmlns="">
          <p:sp>
            <p:nvSpPr>
              <p:cNvPr id="23" name="TextBox 22">
                <a:extLst>
                  <a:ext uri="{FF2B5EF4-FFF2-40B4-BE49-F238E27FC236}">
                    <a16:creationId xmlns:a16="http://schemas.microsoft.com/office/drawing/2014/main" id="{5DED1613-F425-403B-900C-6746670A4E2E}"/>
                  </a:ext>
                </a:extLst>
              </p:cNvPr>
              <p:cNvSpPr txBox="1">
                <a:spLocks noRot="1" noChangeAspect="1" noMove="1" noResize="1" noEditPoints="1" noAdjustHandles="1" noChangeArrowheads="1" noChangeShapeType="1" noTextEdit="1"/>
              </p:cNvSpPr>
              <p:nvPr/>
            </p:nvSpPr>
            <p:spPr>
              <a:xfrm>
                <a:off x="10340304" y="4056091"/>
                <a:ext cx="1135176" cy="369332"/>
              </a:xfrm>
              <a:prstGeom prst="rect">
                <a:avLst/>
              </a:prstGeom>
              <a:blipFill>
                <a:blip r:embed="rId6"/>
                <a:stretch>
                  <a:fillRect/>
                </a:stretch>
              </a:blipFill>
            </p:spPr>
            <p:txBody>
              <a:bodyPr/>
              <a:lstStyle/>
              <a:p>
                <a:r>
                  <a:rPr lang="en-NL">
                    <a:noFill/>
                  </a:rPr>
                  <a:t> </a:t>
                </a:r>
              </a:p>
            </p:txBody>
          </p:sp>
        </mc:Fallback>
      </mc:AlternateContent>
      <p:sp>
        <p:nvSpPr>
          <p:cNvPr id="25" name="TextBox 24">
            <a:extLst>
              <a:ext uri="{FF2B5EF4-FFF2-40B4-BE49-F238E27FC236}">
                <a16:creationId xmlns:a16="http://schemas.microsoft.com/office/drawing/2014/main" id="{3791451D-F1FF-4866-BEE7-76DB3C40E6CC}"/>
              </a:ext>
            </a:extLst>
          </p:cNvPr>
          <p:cNvSpPr txBox="1"/>
          <p:nvPr/>
        </p:nvSpPr>
        <p:spPr>
          <a:xfrm>
            <a:off x="1222502" y="6049134"/>
            <a:ext cx="2257545" cy="369332"/>
          </a:xfrm>
          <a:prstGeom prst="rect">
            <a:avLst/>
          </a:prstGeom>
          <a:noFill/>
          <a:ln w="19050">
            <a:solidFill>
              <a:srgbClr val="C00000"/>
            </a:solidFill>
          </a:ln>
        </p:spPr>
        <p:txBody>
          <a:bodyPr wrap="square" rtlCol="0">
            <a:spAutoFit/>
          </a:bodyPr>
          <a:lstStyle/>
          <a:p>
            <a:r>
              <a:rPr lang="en-US" dirty="0"/>
              <a:t>One-dimensional gap</a:t>
            </a:r>
            <a:endParaRPr lang="en-NL" dirty="0"/>
          </a:p>
        </p:txBody>
      </p:sp>
      <p:sp>
        <p:nvSpPr>
          <p:cNvPr id="4" name="Rectangle 3">
            <a:extLst>
              <a:ext uri="{FF2B5EF4-FFF2-40B4-BE49-F238E27FC236}">
                <a16:creationId xmlns:a16="http://schemas.microsoft.com/office/drawing/2014/main" id="{BAC0D61B-4BC8-4294-82E3-A96FB6065829}"/>
              </a:ext>
            </a:extLst>
          </p:cNvPr>
          <p:cNvSpPr/>
          <p:nvPr/>
        </p:nvSpPr>
        <p:spPr>
          <a:xfrm>
            <a:off x="1899822" y="5282214"/>
            <a:ext cx="8390901" cy="284085"/>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cxnSp>
        <p:nvCxnSpPr>
          <p:cNvPr id="8" name="Straight Arrow Connector 7">
            <a:extLst>
              <a:ext uri="{FF2B5EF4-FFF2-40B4-BE49-F238E27FC236}">
                <a16:creationId xmlns:a16="http://schemas.microsoft.com/office/drawing/2014/main" id="{50A4123E-541B-474D-9568-5BE95CF43030}"/>
              </a:ext>
            </a:extLst>
          </p:cNvPr>
          <p:cNvCxnSpPr>
            <a:cxnSpLocks/>
          </p:cNvCxnSpPr>
          <p:nvPr/>
        </p:nvCxnSpPr>
        <p:spPr>
          <a:xfrm flipV="1">
            <a:off x="2290713" y="5635542"/>
            <a:ext cx="701062" cy="369332"/>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A8BB7EEB-F8AC-E32E-569B-7EC437158519}"/>
              </a:ext>
            </a:extLst>
          </p:cNvPr>
          <p:cNvSpPr/>
          <p:nvPr/>
        </p:nvSpPr>
        <p:spPr>
          <a:xfrm>
            <a:off x="1899822" y="3288650"/>
            <a:ext cx="8390901" cy="1967059"/>
          </a:xfrm>
          <a:prstGeom prst="rect">
            <a:avLst/>
          </a:prstGeom>
          <a:no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36095013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8</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3. </a:t>
            </a:r>
            <a:r>
              <a:rPr lang="en-GB" sz="2500" b="1" kern="0" dirty="0">
                <a:solidFill>
                  <a:srgbClr val="1F4E79"/>
                </a:solidFill>
                <a:latin typeface="Calibri" panose="020F0502020204030204" pitchFamily="34" charset="0"/>
                <a:ea typeface="等线" panose="02010600030101010101" pitchFamily="2" charset="-122"/>
                <a:cs typeface="Calibri" panose="020F0502020204030204" pitchFamily="34" charset="0"/>
              </a:rPr>
              <a:t>∆</a:t>
            </a: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EVE (Economic Value of Equity)</a:t>
            </a:r>
          </a:p>
        </p:txBody>
      </p:sp>
      <p:sp>
        <p:nvSpPr>
          <p:cNvPr id="8" name="TextBox 7">
            <a:extLst>
              <a:ext uri="{FF2B5EF4-FFF2-40B4-BE49-F238E27FC236}">
                <a16:creationId xmlns:a16="http://schemas.microsoft.com/office/drawing/2014/main" id="{02AC0575-0834-48E1-901C-A185C8F7BA93}"/>
              </a:ext>
            </a:extLst>
          </p:cNvPr>
          <p:cNvSpPr txBox="1"/>
          <p:nvPr/>
        </p:nvSpPr>
        <p:spPr>
          <a:xfrm>
            <a:off x="578129" y="724039"/>
            <a:ext cx="11229171" cy="4801314"/>
          </a:xfrm>
          <a:prstGeom prst="rect">
            <a:avLst/>
          </a:prstGeom>
          <a:noFill/>
        </p:spPr>
        <p:txBody>
          <a:bodyPr wrap="square">
            <a:spAutoFit/>
          </a:bodyPr>
          <a:lstStyle/>
          <a:p>
            <a:r>
              <a:rPr lang="en-US" b="1" dirty="0">
                <a:latin typeface="Arial" panose="020B0604020202020204" pitchFamily="34" charset="0"/>
                <a:cs typeface="Arial" panose="020B0604020202020204" pitchFamily="34" charset="0"/>
              </a:rPr>
              <a:t>∆ EVE In a short:</a:t>
            </a:r>
          </a:p>
          <a:p>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EVE = NPV</a:t>
            </a:r>
            <a:r>
              <a:rPr lang="ru-RU" sz="1800" b="1" kern="0" baseline="30000" dirty="0">
                <a:ea typeface="等线" panose="02010600030101010101" pitchFamily="2" charset="-122"/>
              </a:rPr>
              <a:t>1</a:t>
            </a:r>
            <a:r>
              <a:rPr lang="en-US" dirty="0">
                <a:latin typeface="Arial" panose="020B0604020202020204" pitchFamily="34" charset="0"/>
                <a:cs typeface="Arial" panose="020B0604020202020204" pitchFamily="34" charset="0"/>
              </a:rPr>
              <a:t> of inflows on interest-bearing assets – NPV</a:t>
            </a:r>
            <a:r>
              <a:rPr lang="ru-RU" sz="1800" b="1" kern="0" baseline="30000" dirty="0">
                <a:ea typeface="等线" panose="02010600030101010101" pitchFamily="2" charset="-122"/>
              </a:rPr>
              <a:t>1</a:t>
            </a:r>
            <a:r>
              <a:rPr lang="en-US" dirty="0">
                <a:latin typeface="Arial" panose="020B0604020202020204" pitchFamily="34" charset="0"/>
                <a:cs typeface="Arial" panose="020B0604020202020204" pitchFamily="34" charset="0"/>
              </a:rPr>
              <a:t> of outflows on interest-bearing liabilities</a:t>
            </a:r>
          </a:p>
          <a:p>
            <a:pPr marL="285750" indent="-285750">
              <a:buFont typeface="Arial" panose="020B0604020202020204" pitchFamily="34" charset="0"/>
              <a:buChar char="•"/>
            </a:pPr>
            <a:r>
              <a:rPr lang="en-US" b="1"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EVE = EVE in stress scenarios</a:t>
            </a:r>
            <a:r>
              <a:rPr lang="ru-RU" sz="1800" b="1" kern="0" baseline="30000" dirty="0">
                <a:ea typeface="等线" panose="02010600030101010101" pitchFamily="2" charset="-122"/>
              </a:rPr>
              <a:t> </a:t>
            </a:r>
            <a:r>
              <a:rPr lang="en-GB" sz="1800" b="1" kern="0" baseline="30000" dirty="0">
                <a:ea typeface="等线" panose="02010600030101010101" pitchFamily="2" charset="-122"/>
              </a:rPr>
              <a:t>2</a:t>
            </a:r>
            <a:r>
              <a:rPr lang="en-US" dirty="0">
                <a:latin typeface="Arial" panose="020B0604020202020204" pitchFamily="34" charset="0"/>
                <a:cs typeface="Arial" panose="020B0604020202020204" pitchFamily="34" charset="0"/>
              </a:rPr>
              <a:t> – current EVE</a:t>
            </a:r>
          </a:p>
          <a:p>
            <a:endParaRPr lang="en-US" b="1"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 EVE In a long:</a:t>
            </a:r>
          </a:p>
          <a:p>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Banks should exclude their own equity from the computation of the exposure level.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Banks should include all cash flows from all interest rate-sensitive assets, 11 liabilities and off-balance sheet items in the banking book in the computation of their exposure. Banks should disclose whether they have excluded or included commercial margins and other spread components in their cash flows.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Cash flows should be discounted using either a risk-free rate 12 or a risk-free rate including commercial margins and other spread components (only if the bank has included commercial margins and other spread components in its cash flows). Banks should disclose whether they have discounted their cash flows using a risk-free rate or a risk-free rate including commercial margins and other spread components.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EVE should be computed with the assumption of a run-off balance sheet, where existing banking book positions </a:t>
            </a:r>
            <a:r>
              <a:rPr lang="en-US" dirty="0" err="1">
                <a:latin typeface="Arial" panose="020B0604020202020204" pitchFamily="34" charset="0"/>
                <a:cs typeface="Arial" panose="020B0604020202020204" pitchFamily="34" charset="0"/>
              </a:rPr>
              <a:t>amortise</a:t>
            </a:r>
            <a:r>
              <a:rPr lang="en-US" dirty="0">
                <a:latin typeface="Arial" panose="020B0604020202020204" pitchFamily="34" charset="0"/>
                <a:cs typeface="Arial" panose="020B0604020202020204" pitchFamily="34" charset="0"/>
              </a:rPr>
              <a:t> and are not replaced by any new business.</a:t>
            </a:r>
            <a:endParaRPr lang="en-NL" dirty="0">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D9CA27D6-38EA-4E0D-9C2A-932B2942330F}"/>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5.3</a:t>
            </a:r>
            <a:endParaRPr lang="ru-RU" sz="2500" b="1" dirty="0">
              <a:solidFill>
                <a:srgbClr val="FF0000"/>
              </a:solidFill>
            </a:endParaRPr>
          </a:p>
        </p:txBody>
      </p:sp>
      <p:sp>
        <p:nvSpPr>
          <p:cNvPr id="7" name="TextBox 6">
            <a:extLst>
              <a:ext uri="{FF2B5EF4-FFF2-40B4-BE49-F238E27FC236}">
                <a16:creationId xmlns:a16="http://schemas.microsoft.com/office/drawing/2014/main" id="{05E61C94-C306-46A7-941B-5C78E82C67F8}"/>
              </a:ext>
            </a:extLst>
          </p:cNvPr>
          <p:cNvSpPr txBox="1"/>
          <p:nvPr/>
        </p:nvSpPr>
        <p:spPr>
          <a:xfrm>
            <a:off x="578129" y="6145389"/>
            <a:ext cx="4464388" cy="461665"/>
          </a:xfrm>
          <a:prstGeom prst="rect">
            <a:avLst/>
          </a:prstGeom>
          <a:noFill/>
        </p:spPr>
        <p:txBody>
          <a:bodyPr wrap="square" rtlCol="0">
            <a:spAutoFit/>
          </a:bodyPr>
          <a:lstStyle/>
          <a:p>
            <a:r>
              <a:rPr lang="ru-RU" sz="1200" b="1" kern="0" baseline="30000" dirty="0">
                <a:ea typeface="等线" panose="02010600030101010101" pitchFamily="2" charset="-122"/>
              </a:rPr>
              <a:t>1 </a:t>
            </a:r>
            <a:r>
              <a:rPr lang="en-GB" sz="1200" dirty="0"/>
              <a:t>discounting by risk-free interest rates</a:t>
            </a:r>
          </a:p>
          <a:p>
            <a:r>
              <a:rPr lang="en-GB" sz="1200" b="1" kern="0" baseline="30000" dirty="0">
                <a:ea typeface="等线" panose="02010600030101010101" pitchFamily="2" charset="-122"/>
              </a:rPr>
              <a:t>2</a:t>
            </a:r>
            <a:r>
              <a:rPr lang="en-GB" sz="1200" dirty="0"/>
              <a:t> discounting by risk-free interest rates for all 6 scenarios</a:t>
            </a:r>
            <a:endParaRPr lang="en-NL" sz="1200" dirty="0"/>
          </a:p>
        </p:txBody>
      </p:sp>
      <p:sp>
        <p:nvSpPr>
          <p:cNvPr id="3" name="Rectangle 2">
            <a:extLst>
              <a:ext uri="{FF2B5EF4-FFF2-40B4-BE49-F238E27FC236}">
                <a16:creationId xmlns:a16="http://schemas.microsoft.com/office/drawing/2014/main" id="{259C6787-EEAB-99FE-A5A1-045652EF1AC3}"/>
              </a:ext>
            </a:extLst>
          </p:cNvPr>
          <p:cNvSpPr/>
          <p:nvPr/>
        </p:nvSpPr>
        <p:spPr>
          <a:xfrm>
            <a:off x="578129" y="1102932"/>
            <a:ext cx="11035742" cy="99924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32748188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9</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4. Economic capital</a:t>
            </a:r>
          </a:p>
        </p:txBody>
      </p:sp>
      <p:pic>
        <p:nvPicPr>
          <p:cNvPr id="7" name="Picture 6">
            <a:extLst>
              <a:ext uri="{FF2B5EF4-FFF2-40B4-BE49-F238E27FC236}">
                <a16:creationId xmlns:a16="http://schemas.microsoft.com/office/drawing/2014/main" id="{DA22D0AB-A3F3-4384-959B-21FC75464F37}"/>
              </a:ext>
            </a:extLst>
          </p:cNvPr>
          <p:cNvPicPr>
            <a:picLocks noChangeAspect="1"/>
          </p:cNvPicPr>
          <p:nvPr/>
        </p:nvPicPr>
        <p:blipFill>
          <a:blip r:embed="rId2"/>
          <a:stretch>
            <a:fillRect/>
          </a:stretch>
        </p:blipFill>
        <p:spPr>
          <a:xfrm>
            <a:off x="631240" y="1837960"/>
            <a:ext cx="4410075" cy="2981325"/>
          </a:xfrm>
          <a:prstGeom prst="rect">
            <a:avLst/>
          </a:prstGeom>
        </p:spPr>
      </p:pic>
      <p:pic>
        <p:nvPicPr>
          <p:cNvPr id="9" name="Picture 8">
            <a:extLst>
              <a:ext uri="{FF2B5EF4-FFF2-40B4-BE49-F238E27FC236}">
                <a16:creationId xmlns:a16="http://schemas.microsoft.com/office/drawing/2014/main" id="{D4025C18-5336-4476-B071-56F399D22E06}"/>
              </a:ext>
            </a:extLst>
          </p:cNvPr>
          <p:cNvPicPr>
            <a:picLocks noChangeAspect="1"/>
          </p:cNvPicPr>
          <p:nvPr/>
        </p:nvPicPr>
        <p:blipFill>
          <a:blip r:embed="rId3"/>
          <a:stretch>
            <a:fillRect/>
          </a:stretch>
        </p:blipFill>
        <p:spPr>
          <a:xfrm>
            <a:off x="5576521" y="1956219"/>
            <a:ext cx="6268312" cy="2731193"/>
          </a:xfrm>
          <a:prstGeom prst="rect">
            <a:avLst/>
          </a:prstGeom>
        </p:spPr>
      </p:pic>
      <p:sp>
        <p:nvSpPr>
          <p:cNvPr id="11" name="TextBox 10">
            <a:extLst>
              <a:ext uri="{FF2B5EF4-FFF2-40B4-BE49-F238E27FC236}">
                <a16:creationId xmlns:a16="http://schemas.microsoft.com/office/drawing/2014/main" id="{4A89C080-E02A-4114-9A18-64ED1A28D56E}"/>
              </a:ext>
            </a:extLst>
          </p:cNvPr>
          <p:cNvSpPr txBox="1"/>
          <p:nvPr/>
        </p:nvSpPr>
        <p:spPr>
          <a:xfrm>
            <a:off x="532660" y="5054422"/>
            <a:ext cx="11512194" cy="1323439"/>
          </a:xfrm>
          <a:prstGeom prst="rect">
            <a:avLst/>
          </a:prstGeom>
          <a:noFill/>
          <a:ln>
            <a:solidFill>
              <a:srgbClr val="002060"/>
            </a:solidFill>
          </a:ln>
        </p:spPr>
        <p:txBody>
          <a:bodyPr wrap="square">
            <a:spAutoFit/>
          </a:bodyPr>
          <a:lstStyle/>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Such calc for ∆ NII could reflect ECAP on the short-term horizon. At the same time, ∆ EVE could reflect ECAP on the economic cycle horizon.</a:t>
            </a: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This approach is the most advanced and requires sophisticated modelling techniques.</a:t>
            </a:r>
          </a:p>
          <a:p>
            <a:pPr marL="285750" indent="-285750">
              <a:buFont typeface="Arial" panose="020B0604020202020204" pitchFamily="34" charset="0"/>
              <a:buChar char="•"/>
            </a:pPr>
            <a:r>
              <a:rPr lang="en-GB" sz="1600" dirty="0">
                <a:latin typeface="Arial" panose="020B0604020202020204" pitchFamily="34" charset="0"/>
                <a:cs typeface="Arial" panose="020B0604020202020204" pitchFamily="34" charset="0"/>
              </a:rPr>
              <a:t>It is recommended to use for Economic capital calculations on interest rate risk for ICAAP purposes and limits for RAF on IRRBB.</a:t>
            </a:r>
            <a:endParaRPr lang="ru-RU" sz="16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5BECD0C1-26C4-4E02-BB63-25E01F272DF2}"/>
              </a:ext>
            </a:extLst>
          </p:cNvPr>
          <p:cNvSpPr txBox="1"/>
          <p:nvPr/>
        </p:nvSpPr>
        <p:spPr>
          <a:xfrm>
            <a:off x="532660" y="790114"/>
            <a:ext cx="4749554" cy="1077218"/>
          </a:xfrm>
          <a:prstGeom prst="rect">
            <a:avLst/>
          </a:prstGeom>
          <a:noFill/>
        </p:spPr>
        <p:txBody>
          <a:bodyPr wrap="square" rtlCol="0">
            <a:spAutoFit/>
          </a:bodyPr>
          <a:lstStyle/>
          <a:p>
            <a:r>
              <a:rPr lang="en-GB" sz="1600" dirty="0">
                <a:latin typeface="Arial" panose="020B0604020202020204" pitchFamily="34" charset="0"/>
                <a:cs typeface="Arial" panose="020B0604020202020204" pitchFamily="34" charset="0"/>
              </a:rPr>
              <a:t>Step 1. Prediction of different forms of interest rate curves based on different macroeconomic scenarios (better to use the same scenarios as for credit risk EC calc)</a:t>
            </a:r>
            <a:endParaRPr lang="en-NL" sz="1600"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4D660AA7-3162-4D46-B4E1-8000203E46DB}"/>
              </a:ext>
            </a:extLst>
          </p:cNvPr>
          <p:cNvSpPr txBox="1"/>
          <p:nvPr/>
        </p:nvSpPr>
        <p:spPr>
          <a:xfrm>
            <a:off x="5771966" y="801472"/>
            <a:ext cx="6082684" cy="1077218"/>
          </a:xfrm>
          <a:prstGeom prst="rect">
            <a:avLst/>
          </a:prstGeom>
          <a:noFill/>
        </p:spPr>
        <p:txBody>
          <a:bodyPr wrap="square" rtlCol="0">
            <a:spAutoFit/>
          </a:bodyPr>
          <a:lstStyle/>
          <a:p>
            <a:r>
              <a:rPr lang="en-GB" sz="1600" dirty="0">
                <a:latin typeface="Arial" panose="020B0604020202020204" pitchFamily="34" charset="0"/>
                <a:cs typeface="Arial" panose="020B0604020202020204" pitchFamily="34" charset="0"/>
              </a:rPr>
              <a:t>Step 2. Based on step 1, we use the indirect method to calculate the losses for each scenario, then form the distribution of these losses and finally pick up the value based on the confidence level we prefer</a:t>
            </a:r>
            <a:endParaRPr lang="en-NL" sz="1600"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A6E92ECF-270A-44BB-8587-F040D6AE0666}"/>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5.3</a:t>
            </a:r>
            <a:endParaRPr lang="ru-RU" sz="2500" b="1" dirty="0">
              <a:solidFill>
                <a:srgbClr val="FF0000"/>
              </a:solidFill>
            </a:endParaRPr>
          </a:p>
        </p:txBody>
      </p:sp>
    </p:spTree>
    <p:extLst>
      <p:ext uri="{BB962C8B-B14F-4D97-AF65-F5344CB8AC3E}">
        <p14:creationId xmlns:p14="http://schemas.microsoft.com/office/powerpoint/2010/main" val="19872947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8"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nterest accruals</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3" name="Рисунок 2">
            <a:extLst>
              <a:ext uri="{FF2B5EF4-FFF2-40B4-BE49-F238E27FC236}">
                <a16:creationId xmlns:a16="http://schemas.microsoft.com/office/drawing/2014/main" id="{4A1BF880-AFD7-4B6C-B24B-F5BE9CAF0F4D}"/>
              </a:ext>
            </a:extLst>
          </p:cNvPr>
          <p:cNvPicPr>
            <a:picLocks noChangeAspect="1"/>
          </p:cNvPicPr>
          <p:nvPr/>
        </p:nvPicPr>
        <p:blipFill>
          <a:blip r:embed="rId2"/>
          <a:stretch>
            <a:fillRect/>
          </a:stretch>
        </p:blipFill>
        <p:spPr>
          <a:xfrm>
            <a:off x="236699" y="1160171"/>
            <a:ext cx="4272664" cy="2592680"/>
          </a:xfrm>
          <a:prstGeom prst="rect">
            <a:avLst/>
          </a:prstGeom>
        </p:spPr>
      </p:pic>
      <p:sp>
        <p:nvSpPr>
          <p:cNvPr id="7" name="TextBox 6">
            <a:extLst>
              <a:ext uri="{FF2B5EF4-FFF2-40B4-BE49-F238E27FC236}">
                <a16:creationId xmlns:a16="http://schemas.microsoft.com/office/drawing/2014/main" id="{6842C5AA-1AE9-ED6E-50AB-B863FE28CE8D}"/>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5.1</a:t>
            </a:r>
            <a:endParaRPr lang="ru-RU" sz="2500" b="1" dirty="0">
              <a:solidFill>
                <a:srgbClr val="FF0000"/>
              </a:solidFill>
            </a:endParaRPr>
          </a:p>
        </p:txBody>
      </p:sp>
      <p:pic>
        <p:nvPicPr>
          <p:cNvPr id="9" name="Picture 8">
            <a:extLst>
              <a:ext uri="{FF2B5EF4-FFF2-40B4-BE49-F238E27FC236}">
                <a16:creationId xmlns:a16="http://schemas.microsoft.com/office/drawing/2014/main" id="{C3A39222-90C1-4ECB-75D5-5E782010CDE5}"/>
              </a:ext>
            </a:extLst>
          </p:cNvPr>
          <p:cNvPicPr>
            <a:picLocks noChangeAspect="1"/>
          </p:cNvPicPr>
          <p:nvPr/>
        </p:nvPicPr>
        <p:blipFill>
          <a:blip r:embed="rId3"/>
          <a:stretch>
            <a:fillRect/>
          </a:stretch>
        </p:blipFill>
        <p:spPr>
          <a:xfrm>
            <a:off x="381958" y="4472555"/>
            <a:ext cx="2738747" cy="651171"/>
          </a:xfrm>
          <a:prstGeom prst="rect">
            <a:avLst/>
          </a:prstGeom>
          <a:ln>
            <a:solidFill>
              <a:srgbClr val="FF0000"/>
            </a:solidFill>
          </a:ln>
        </p:spPr>
      </p:pic>
      <p:sp>
        <p:nvSpPr>
          <p:cNvPr id="10" name="Arrow: Right 9">
            <a:extLst>
              <a:ext uri="{FF2B5EF4-FFF2-40B4-BE49-F238E27FC236}">
                <a16:creationId xmlns:a16="http://schemas.microsoft.com/office/drawing/2014/main" id="{32728730-626D-0038-35C3-8C916E7BC5BC}"/>
              </a:ext>
            </a:extLst>
          </p:cNvPr>
          <p:cNvSpPr/>
          <p:nvPr/>
        </p:nvSpPr>
        <p:spPr>
          <a:xfrm>
            <a:off x="3464653" y="4655891"/>
            <a:ext cx="968743" cy="285226"/>
          </a:xfrm>
          <a:prstGeom prs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1" name="Диаграмма 5">
            <a:extLst>
              <a:ext uri="{FF2B5EF4-FFF2-40B4-BE49-F238E27FC236}">
                <a16:creationId xmlns:a16="http://schemas.microsoft.com/office/drawing/2014/main" id="{D999BAE8-0165-4FA3-822A-4B3110B1E9C9}"/>
              </a:ext>
            </a:extLst>
          </p:cNvPr>
          <p:cNvGraphicFramePr>
            <a:graphicFrameLocks/>
          </p:cNvGraphicFramePr>
          <p:nvPr>
            <p:extLst>
              <p:ext uri="{D42A27DB-BD31-4B8C-83A1-F6EECF244321}">
                <p14:modId xmlns:p14="http://schemas.microsoft.com/office/powerpoint/2010/main" val="1720412784"/>
              </p:ext>
            </p:extLst>
          </p:nvPr>
        </p:nvGraphicFramePr>
        <p:xfrm>
          <a:off x="4913415" y="1160171"/>
          <a:ext cx="6706924" cy="5097754"/>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4D1E3965-D161-999D-0999-3D1B1364CEA1}"/>
              </a:ext>
            </a:extLst>
          </p:cNvPr>
          <p:cNvSpPr txBox="1"/>
          <p:nvPr/>
        </p:nvSpPr>
        <p:spPr>
          <a:xfrm>
            <a:off x="4913415" y="1160171"/>
            <a:ext cx="4900219" cy="338554"/>
          </a:xfrm>
          <a:prstGeom prst="rect">
            <a:avLst/>
          </a:prstGeom>
          <a:noFill/>
        </p:spPr>
        <p:txBody>
          <a:bodyPr wrap="square" rtlCol="0">
            <a:spAutoFit/>
          </a:bodyPr>
          <a:lstStyle/>
          <a:p>
            <a:pPr algn="l" fontAlgn="base"/>
            <a:r>
              <a:rPr lang="en-GB" sz="1600" b="1" i="0" dirty="0">
                <a:solidFill>
                  <a:srgbClr val="000000"/>
                </a:solidFill>
                <a:effectLst/>
                <a:latin typeface="Arial" panose="020B0604020202020204" pitchFamily="34" charset="0"/>
                <a:cs typeface="Arial" panose="020B0604020202020204" pitchFamily="34" charset="0"/>
              </a:rPr>
              <a:t>FV:</a:t>
            </a:r>
          </a:p>
        </p:txBody>
      </p:sp>
    </p:spTree>
    <p:extLst>
      <p:ext uri="{BB962C8B-B14F-4D97-AF65-F5344CB8AC3E}">
        <p14:creationId xmlns:p14="http://schemas.microsoft.com/office/powerpoint/2010/main" val="14552950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0</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Pros and cons of IRR risk metrics</a:t>
            </a:r>
          </a:p>
        </p:txBody>
      </p:sp>
      <p:graphicFrame>
        <p:nvGraphicFramePr>
          <p:cNvPr id="14" name="Table 5">
            <a:extLst>
              <a:ext uri="{FF2B5EF4-FFF2-40B4-BE49-F238E27FC236}">
                <a16:creationId xmlns:a16="http://schemas.microsoft.com/office/drawing/2014/main" id="{C5F7A9A8-78D1-454D-96FA-2A934AA6F49F}"/>
              </a:ext>
            </a:extLst>
          </p:cNvPr>
          <p:cNvGraphicFramePr>
            <a:graphicFrameLocks noGrp="1"/>
          </p:cNvGraphicFramePr>
          <p:nvPr>
            <p:extLst>
              <p:ext uri="{D42A27DB-BD31-4B8C-83A1-F6EECF244321}">
                <p14:modId xmlns:p14="http://schemas.microsoft.com/office/powerpoint/2010/main" val="1146068905"/>
              </p:ext>
            </p:extLst>
          </p:nvPr>
        </p:nvGraphicFramePr>
        <p:xfrm>
          <a:off x="615520" y="1136343"/>
          <a:ext cx="10585444" cy="4986634"/>
        </p:xfrm>
        <a:graphic>
          <a:graphicData uri="http://schemas.openxmlformats.org/drawingml/2006/table">
            <a:tbl>
              <a:tblPr firstRow="1" bandRow="1">
                <a:tableStyleId>{5940675A-B579-460E-94D1-54222C63F5DA}</a:tableStyleId>
              </a:tblPr>
              <a:tblGrid>
                <a:gridCol w="3761171">
                  <a:extLst>
                    <a:ext uri="{9D8B030D-6E8A-4147-A177-3AD203B41FA5}">
                      <a16:colId xmlns:a16="http://schemas.microsoft.com/office/drawing/2014/main" val="181603195"/>
                    </a:ext>
                  </a:extLst>
                </a:gridCol>
                <a:gridCol w="3480047">
                  <a:extLst>
                    <a:ext uri="{9D8B030D-6E8A-4147-A177-3AD203B41FA5}">
                      <a16:colId xmlns:a16="http://schemas.microsoft.com/office/drawing/2014/main" val="753762653"/>
                    </a:ext>
                  </a:extLst>
                </a:gridCol>
                <a:gridCol w="3344226">
                  <a:extLst>
                    <a:ext uri="{9D8B030D-6E8A-4147-A177-3AD203B41FA5}">
                      <a16:colId xmlns:a16="http://schemas.microsoft.com/office/drawing/2014/main" val="1052126945"/>
                    </a:ext>
                  </a:extLst>
                </a:gridCol>
              </a:tblGrid>
              <a:tr h="784368">
                <a:tc>
                  <a:txBody>
                    <a:bodyPr/>
                    <a:lstStyle/>
                    <a:p>
                      <a:pPr algn="ctr"/>
                      <a:r>
                        <a:rPr lang="en-GB" sz="2200" b="1" dirty="0">
                          <a:latin typeface="Arial" panose="020B0604020202020204" pitchFamily="34" charset="0"/>
                          <a:cs typeface="Arial" panose="020B0604020202020204" pitchFamily="34" charset="0"/>
                        </a:rPr>
                        <a:t>Name of the instrument</a:t>
                      </a:r>
                    </a:p>
                  </a:txBody>
                  <a:tcPr anchor="ctr">
                    <a:solidFill>
                      <a:schemeClr val="accent5">
                        <a:lumMod val="20000"/>
                        <a:lumOff val="80000"/>
                      </a:schemeClr>
                    </a:solidFill>
                  </a:tcPr>
                </a:tc>
                <a:tc>
                  <a:txBody>
                    <a:bodyPr/>
                    <a:lstStyle/>
                    <a:p>
                      <a:pPr algn="ctr"/>
                      <a:r>
                        <a:rPr lang="en-GB" sz="2200" b="1" dirty="0">
                          <a:latin typeface="Arial" panose="020B0604020202020204" pitchFamily="34" charset="0"/>
                          <a:cs typeface="Arial" panose="020B0604020202020204" pitchFamily="34" charset="0"/>
                        </a:rPr>
                        <a:t>Pros</a:t>
                      </a:r>
                    </a:p>
                  </a:txBody>
                  <a:tcPr anchor="ctr">
                    <a:solidFill>
                      <a:schemeClr val="accent5">
                        <a:lumMod val="20000"/>
                        <a:lumOff val="80000"/>
                      </a:schemeClr>
                    </a:solidFill>
                  </a:tcPr>
                </a:tc>
                <a:tc>
                  <a:txBody>
                    <a:bodyPr/>
                    <a:lstStyle/>
                    <a:p>
                      <a:pPr algn="ctr"/>
                      <a:r>
                        <a:rPr lang="en-GB" sz="2200" b="1" dirty="0">
                          <a:latin typeface="Arial" panose="020B0604020202020204" pitchFamily="34" charset="0"/>
                          <a:cs typeface="Arial" panose="020B0604020202020204" pitchFamily="34" charset="0"/>
                        </a:rPr>
                        <a:t>Cons</a:t>
                      </a:r>
                    </a:p>
                  </a:txBody>
                  <a:tcPr anchor="ctr">
                    <a:solidFill>
                      <a:schemeClr val="accent5">
                        <a:lumMod val="20000"/>
                        <a:lumOff val="80000"/>
                      </a:schemeClr>
                    </a:solidFill>
                  </a:tcPr>
                </a:tc>
                <a:extLst>
                  <a:ext uri="{0D108BD9-81ED-4DB2-BD59-A6C34878D82A}">
                    <a16:rowId xmlns:a16="http://schemas.microsoft.com/office/drawing/2014/main" val="2775763416"/>
                  </a:ext>
                </a:extLst>
              </a:tr>
              <a:tr h="980854">
                <a:tc>
                  <a:txBody>
                    <a:bodyPr/>
                    <a:lstStyle/>
                    <a:p>
                      <a:r>
                        <a:rPr lang="en-GB" sz="2200" dirty="0">
                          <a:latin typeface="Arial" panose="020B0604020202020204" pitchFamily="34" charset="0"/>
                          <a:cs typeface="Arial" panose="020B0604020202020204" pitchFamily="34" charset="0"/>
                        </a:rPr>
                        <a:t>1. Interest rate gap</a:t>
                      </a:r>
                    </a:p>
                  </a:txBody>
                  <a:tcPr anchor="ctr">
                    <a:solidFill>
                      <a:schemeClr val="accent5">
                        <a:lumMod val="20000"/>
                        <a:lumOff val="80000"/>
                      </a:schemeClr>
                    </a:solidFill>
                  </a:tcPr>
                </a:tc>
                <a:tc>
                  <a:txBody>
                    <a:bodyPr/>
                    <a:lstStyle/>
                    <a:p>
                      <a:r>
                        <a:rPr lang="en-GB" sz="2200" dirty="0">
                          <a:latin typeface="Arial" panose="020B0604020202020204" pitchFamily="34" charset="0"/>
                          <a:cs typeface="Arial" panose="020B0604020202020204" pitchFamily="34" charset="0"/>
                        </a:rPr>
                        <a:t>Clear, concise and easy to calculate</a:t>
                      </a:r>
                    </a:p>
                  </a:txBody>
                  <a:tcPr anchor="ctr">
                    <a:solidFill>
                      <a:schemeClr val="accent5">
                        <a:lumMod val="20000"/>
                        <a:lumOff val="80000"/>
                      </a:schemeClr>
                    </a:solidFill>
                  </a:tcPr>
                </a:tc>
                <a:tc>
                  <a:txBody>
                    <a:bodyPr/>
                    <a:lstStyle/>
                    <a:p>
                      <a:r>
                        <a:rPr lang="en-GB" sz="2200" dirty="0">
                          <a:latin typeface="Arial" panose="020B0604020202020204" pitchFamily="34" charset="0"/>
                          <a:cs typeface="Arial" panose="020B0604020202020204" pitchFamily="34" charset="0"/>
                        </a:rPr>
                        <a:t>Do not provide quantitative assessment</a:t>
                      </a:r>
                    </a:p>
                  </a:txBody>
                  <a:tcPr anchor="ctr">
                    <a:solidFill>
                      <a:schemeClr val="accent5">
                        <a:lumMod val="20000"/>
                        <a:lumOff val="80000"/>
                      </a:schemeClr>
                    </a:solidFill>
                  </a:tcPr>
                </a:tc>
                <a:extLst>
                  <a:ext uri="{0D108BD9-81ED-4DB2-BD59-A6C34878D82A}">
                    <a16:rowId xmlns:a16="http://schemas.microsoft.com/office/drawing/2014/main" val="3298591007"/>
                  </a:ext>
                </a:extLst>
              </a:tr>
              <a:tr h="112027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200" dirty="0">
                          <a:latin typeface="Arial" panose="020B0604020202020204" pitchFamily="34" charset="0"/>
                          <a:cs typeface="Arial" panose="020B0604020202020204" pitchFamily="34" charset="0"/>
                        </a:rPr>
                        <a:t>2. The direct and indirect method of interest rate sensitivity analysis </a:t>
                      </a:r>
                      <a:r>
                        <a:rPr lang="en-GB" sz="2200" b="0" kern="1200" dirty="0">
                          <a:solidFill>
                            <a:schemeClr val="tx1"/>
                          </a:solidFill>
                          <a:latin typeface="Arial" panose="020B0604020202020204" pitchFamily="34" charset="0"/>
                          <a:ea typeface="+mn-ea"/>
                          <a:cs typeface="Arial" panose="020B0604020202020204" pitchFamily="34" charset="0"/>
                        </a:rPr>
                        <a:t>(∆NII)</a:t>
                      </a:r>
                      <a:endParaRPr lang="en-GB" sz="2200" dirty="0">
                        <a:latin typeface="Arial" panose="020B0604020202020204" pitchFamily="34" charset="0"/>
                        <a:cs typeface="Arial" panose="020B0604020202020204" pitchFamily="34" charset="0"/>
                      </a:endParaRPr>
                    </a:p>
                  </a:txBody>
                  <a:tcPr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200" dirty="0">
                          <a:latin typeface="Arial" panose="020B0604020202020204" pitchFamily="34" charset="0"/>
                          <a:cs typeface="Arial" panose="020B0604020202020204" pitchFamily="34" charset="0"/>
                        </a:rPr>
                        <a:t>Clear, concise and easy to calculate</a:t>
                      </a:r>
                    </a:p>
                  </a:txBody>
                  <a:tcPr anchor="ctr">
                    <a:solidFill>
                      <a:schemeClr val="accent5">
                        <a:lumMod val="20000"/>
                        <a:lumOff val="80000"/>
                      </a:schemeClr>
                    </a:solidFill>
                  </a:tcPr>
                </a:tc>
                <a:tc>
                  <a:txBody>
                    <a:bodyPr/>
                    <a:lstStyle/>
                    <a:p>
                      <a:r>
                        <a:rPr lang="en-GB" sz="2200" dirty="0">
                          <a:latin typeface="Arial" panose="020B0604020202020204" pitchFamily="34" charset="0"/>
                          <a:cs typeface="Arial" panose="020B0604020202020204" pitchFamily="34" charset="0"/>
                        </a:rPr>
                        <a:t>Limited on 1 year horizon</a:t>
                      </a:r>
                    </a:p>
                  </a:txBody>
                  <a:tcPr anchor="ctr">
                    <a:solidFill>
                      <a:schemeClr val="accent5">
                        <a:lumMod val="20000"/>
                        <a:lumOff val="80000"/>
                      </a:schemeClr>
                    </a:solidFill>
                  </a:tcPr>
                </a:tc>
                <a:extLst>
                  <a:ext uri="{0D108BD9-81ED-4DB2-BD59-A6C34878D82A}">
                    <a16:rowId xmlns:a16="http://schemas.microsoft.com/office/drawing/2014/main" val="3232146464"/>
                  </a:ext>
                </a:extLst>
              </a:tr>
              <a:tr h="1120279">
                <a:tc>
                  <a:txBody>
                    <a:bodyPr/>
                    <a:lstStyle/>
                    <a:p>
                      <a:r>
                        <a:rPr lang="en-GB" sz="2200" dirty="0">
                          <a:latin typeface="Arial" panose="020B0604020202020204" pitchFamily="34" charset="0"/>
                          <a:cs typeface="Arial" panose="020B0604020202020204" pitchFamily="34" charset="0"/>
                        </a:rPr>
                        <a:t>3. EVE</a:t>
                      </a:r>
                    </a:p>
                  </a:txBody>
                  <a:tcPr anchor="ctr">
                    <a:solidFill>
                      <a:schemeClr val="accent5">
                        <a:lumMod val="20000"/>
                        <a:lumOff val="80000"/>
                      </a:schemeClr>
                    </a:solidFill>
                  </a:tcPr>
                </a:tc>
                <a:tc>
                  <a:txBody>
                    <a:bodyPr/>
                    <a:lstStyle/>
                    <a:p>
                      <a:r>
                        <a:rPr lang="en-GB" sz="2200" dirty="0">
                          <a:latin typeface="Arial" panose="020B0604020202020204" pitchFamily="34" charset="0"/>
                          <a:cs typeface="Arial" panose="020B0604020202020204" pitchFamily="34" charset="0"/>
                        </a:rPr>
                        <a:t>Useful from beneficiary perspective</a:t>
                      </a:r>
                    </a:p>
                  </a:txBody>
                  <a:tcPr anchor="ctr">
                    <a:solidFill>
                      <a:schemeClr val="accent5">
                        <a:lumMod val="20000"/>
                        <a:lumOff val="80000"/>
                      </a:schemeClr>
                    </a:solidFill>
                  </a:tcPr>
                </a:tc>
                <a:tc>
                  <a:txBody>
                    <a:bodyPr/>
                    <a:lstStyle/>
                    <a:p>
                      <a:r>
                        <a:rPr lang="en-GB" sz="2200" dirty="0">
                          <a:latin typeface="Arial" panose="020B0604020202020204" pitchFamily="34" charset="0"/>
                          <a:cs typeface="Arial" panose="020B0604020202020204" pitchFamily="34" charset="0"/>
                        </a:rPr>
                        <a:t>Not straightforward</a:t>
                      </a:r>
                    </a:p>
                  </a:txBody>
                  <a:tcPr anchor="ctr">
                    <a:solidFill>
                      <a:schemeClr val="accent5">
                        <a:lumMod val="20000"/>
                        <a:lumOff val="80000"/>
                      </a:schemeClr>
                    </a:solidFill>
                  </a:tcPr>
                </a:tc>
                <a:extLst>
                  <a:ext uri="{0D108BD9-81ED-4DB2-BD59-A6C34878D82A}">
                    <a16:rowId xmlns:a16="http://schemas.microsoft.com/office/drawing/2014/main" val="2386054518"/>
                  </a:ext>
                </a:extLst>
              </a:tr>
              <a:tr h="980854">
                <a:tc>
                  <a:txBody>
                    <a:bodyPr/>
                    <a:lstStyle/>
                    <a:p>
                      <a:r>
                        <a:rPr lang="en-GB" sz="2200" dirty="0">
                          <a:latin typeface="Arial" panose="020B0604020202020204" pitchFamily="34" charset="0"/>
                          <a:cs typeface="Arial" panose="020B0604020202020204" pitchFamily="34" charset="0"/>
                        </a:rPr>
                        <a:t>4. Economical capital</a:t>
                      </a:r>
                    </a:p>
                  </a:txBody>
                  <a:tcPr anchor="ctr">
                    <a:solidFill>
                      <a:schemeClr val="accent5">
                        <a:lumMod val="20000"/>
                        <a:lumOff val="80000"/>
                      </a:schemeClr>
                    </a:solidFill>
                  </a:tcPr>
                </a:tc>
                <a:tc>
                  <a:txBody>
                    <a:bodyPr/>
                    <a:lstStyle/>
                    <a:p>
                      <a:r>
                        <a:rPr lang="en-GB" sz="2200" dirty="0">
                          <a:latin typeface="Arial" panose="020B0604020202020204" pitchFamily="34" charset="0"/>
                          <a:cs typeface="Arial" panose="020B0604020202020204" pitchFamily="34" charset="0"/>
                        </a:rPr>
                        <a:t>Show maximal possible loss</a:t>
                      </a:r>
                    </a:p>
                  </a:txBody>
                  <a:tcPr anchor="ctr">
                    <a:solidFill>
                      <a:schemeClr val="accent5">
                        <a:lumMod val="20000"/>
                        <a:lumOff val="80000"/>
                      </a:schemeClr>
                    </a:solidFill>
                  </a:tcPr>
                </a:tc>
                <a:tc>
                  <a:txBody>
                    <a:bodyPr/>
                    <a:lstStyle/>
                    <a:p>
                      <a:r>
                        <a:rPr lang="en-GB" sz="2200" dirty="0">
                          <a:latin typeface="Arial" panose="020B0604020202020204" pitchFamily="34" charset="0"/>
                          <a:cs typeface="Arial" panose="020B0604020202020204" pitchFamily="34" charset="0"/>
                        </a:rPr>
                        <a:t>Difficult to model</a:t>
                      </a:r>
                    </a:p>
                  </a:txBody>
                  <a:tcPr anchor="ctr">
                    <a:solidFill>
                      <a:schemeClr val="accent5">
                        <a:lumMod val="20000"/>
                        <a:lumOff val="80000"/>
                      </a:schemeClr>
                    </a:solidFill>
                  </a:tcPr>
                </a:tc>
                <a:extLst>
                  <a:ext uri="{0D108BD9-81ED-4DB2-BD59-A6C34878D82A}">
                    <a16:rowId xmlns:a16="http://schemas.microsoft.com/office/drawing/2014/main" val="312832538"/>
                  </a:ext>
                </a:extLst>
              </a:tr>
            </a:tbl>
          </a:graphicData>
        </a:graphic>
      </p:graphicFrame>
    </p:spTree>
    <p:extLst>
      <p:ext uri="{BB962C8B-B14F-4D97-AF65-F5344CB8AC3E}">
        <p14:creationId xmlns:p14="http://schemas.microsoft.com/office/powerpoint/2010/main" val="33522625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1</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egulatory requirements for IRRBB (NII and EVE)</a:t>
            </a:r>
          </a:p>
        </p:txBody>
      </p:sp>
      <p:sp>
        <p:nvSpPr>
          <p:cNvPr id="8" name="TextBox 7">
            <a:extLst>
              <a:ext uri="{FF2B5EF4-FFF2-40B4-BE49-F238E27FC236}">
                <a16:creationId xmlns:a16="http://schemas.microsoft.com/office/drawing/2014/main" id="{5DECFFF7-4DDD-4DFE-AF09-04E3986FCD1F}"/>
              </a:ext>
            </a:extLst>
          </p:cNvPr>
          <p:cNvSpPr txBox="1"/>
          <p:nvPr/>
        </p:nvSpPr>
        <p:spPr>
          <a:xfrm>
            <a:off x="381959" y="735564"/>
            <a:ext cx="10528697" cy="4693593"/>
          </a:xfrm>
          <a:prstGeom prst="rect">
            <a:avLst/>
          </a:prstGeom>
          <a:noFill/>
        </p:spPr>
        <p:txBody>
          <a:bodyPr wrap="square">
            <a:spAutoFit/>
          </a:bodyPr>
          <a:lstStyle/>
          <a:p>
            <a:pPr marL="285750" indent="-285750">
              <a:buFont typeface="Arial" panose="020B0604020202020204" pitchFamily="34" charset="0"/>
              <a:buChar char="•"/>
            </a:pPr>
            <a:r>
              <a:rPr lang="en-US" sz="1300" b="1" dirty="0">
                <a:latin typeface="Arial" panose="020B0604020202020204" pitchFamily="34" charset="0"/>
                <a:cs typeface="Arial" panose="020B0604020202020204" pitchFamily="34" charset="0"/>
              </a:rPr>
              <a:t>[Have the forecasts for 6 scenarios and proper calculations in place]</a:t>
            </a:r>
            <a:r>
              <a:rPr lang="en-US" sz="1300" dirty="0">
                <a:latin typeface="Arial" panose="020B0604020202020204" pitchFamily="34" charset="0"/>
                <a:cs typeface="Arial" panose="020B0604020202020204" pitchFamily="34" charset="0"/>
              </a:rPr>
              <a:t> Greater guidance has been provided on the expectations for a bank’s IRRBB management process, in particular the development of shock and stress scenarios (Principle 4) to be applied to the measurement of IRRBB, the key </a:t>
            </a:r>
            <a:r>
              <a:rPr lang="en-US" sz="1300" dirty="0" err="1">
                <a:latin typeface="Arial" panose="020B0604020202020204" pitchFamily="34" charset="0"/>
                <a:cs typeface="Arial" panose="020B0604020202020204" pitchFamily="34" charset="0"/>
              </a:rPr>
              <a:t>behavioural</a:t>
            </a:r>
            <a:r>
              <a:rPr lang="en-US" sz="1300" dirty="0">
                <a:latin typeface="Arial" panose="020B0604020202020204" pitchFamily="34" charset="0"/>
                <a:cs typeface="Arial" panose="020B0604020202020204" pitchFamily="34" charset="0"/>
              </a:rPr>
              <a:t> and modelling assumptions which banks should consider in their measurement of IRRBB (Principle 5) and the internal validation process which banks should apply for their internal measurement systems (IMS) and models used for IRRBB (Principle 6). </a:t>
            </a:r>
          </a:p>
          <a:p>
            <a:pPr marL="285750" indent="-285750">
              <a:buFont typeface="Arial" panose="020B0604020202020204" pitchFamily="34" charset="0"/>
              <a:buChar char="•"/>
            </a:pPr>
            <a:endParaRPr lang="en-US" sz="130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300" b="1" dirty="0">
                <a:latin typeface="Arial" panose="020B0604020202020204" pitchFamily="34" charset="0"/>
                <a:cs typeface="Arial" panose="020B0604020202020204" pitchFamily="34" charset="0"/>
              </a:rPr>
              <a:t>[Disclose the IRRBB metrics in Pillar 3 report] </a:t>
            </a:r>
            <a:r>
              <a:rPr lang="en-US" sz="1300" dirty="0">
                <a:latin typeface="Arial" panose="020B0604020202020204" pitchFamily="34" charset="0"/>
                <a:cs typeface="Arial" panose="020B0604020202020204" pitchFamily="34" charset="0"/>
              </a:rPr>
              <a:t>The disclosure requirements under Principle 8 have been updated to promote greater consistency, transparency and comparability in the measurement and management of IRRBB. Banks must disclose, among other requirements, the impact of interest rate shocks on their change in economic value of equity (∆EVE) and net interest income (∆NII), computed based on a set of prescribed interest rate shock scenarios. </a:t>
            </a:r>
          </a:p>
          <a:p>
            <a:pPr marL="285750" indent="-285750">
              <a:buFont typeface="Arial" panose="020B0604020202020204" pitchFamily="34" charset="0"/>
              <a:buChar char="•"/>
            </a:pPr>
            <a:endParaRPr lang="en-US" sz="130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300" b="1" dirty="0">
                <a:latin typeface="Arial" panose="020B0604020202020204" pitchFamily="34" charset="0"/>
                <a:cs typeface="Arial" panose="020B0604020202020204" pitchFamily="34" charset="0"/>
              </a:rPr>
              <a:t>[Regulators can and should challenge the approaches of management of IRRBB]</a:t>
            </a:r>
            <a:r>
              <a:rPr lang="en-US" sz="1300" dirty="0">
                <a:latin typeface="Arial" panose="020B0604020202020204" pitchFamily="34" charset="0"/>
                <a:cs typeface="Arial" panose="020B0604020202020204" pitchFamily="34" charset="0"/>
              </a:rPr>
              <a:t> The supervisory review process under Principle 11 has been updated to elaborate on the factors which supervisors should consider when assessing the banks’ level and management of IRRBB exposures. Supervisors could also mandate the banks under their respective jurisdictions to follow the </a:t>
            </a:r>
            <a:r>
              <a:rPr lang="en-US" sz="1300" dirty="0" err="1">
                <a:latin typeface="Arial" panose="020B0604020202020204" pitchFamily="34" charset="0"/>
                <a:cs typeface="Arial" panose="020B0604020202020204" pitchFamily="34" charset="0"/>
              </a:rPr>
              <a:t>standardised</a:t>
            </a:r>
            <a:r>
              <a:rPr lang="en-US" sz="1300" dirty="0">
                <a:latin typeface="Arial" panose="020B0604020202020204" pitchFamily="34" charset="0"/>
                <a:cs typeface="Arial" panose="020B0604020202020204" pitchFamily="34" charset="0"/>
              </a:rPr>
              <a:t> framework for IRRBB (</a:t>
            </a:r>
            <a:r>
              <a:rPr lang="en-US" sz="1300" dirty="0" err="1">
                <a:latin typeface="Arial" panose="020B0604020202020204" pitchFamily="34" charset="0"/>
                <a:cs typeface="Arial" panose="020B0604020202020204" pitchFamily="34" charset="0"/>
              </a:rPr>
              <a:t>eg</a:t>
            </a:r>
            <a:r>
              <a:rPr lang="en-US" sz="1300" dirty="0">
                <a:latin typeface="Arial" panose="020B0604020202020204" pitchFamily="34" charset="0"/>
                <a:cs typeface="Arial" panose="020B0604020202020204" pitchFamily="34" charset="0"/>
              </a:rPr>
              <a:t> if they find that the bank’s IMS does not adequately capture IRRBB). The </a:t>
            </a:r>
            <a:r>
              <a:rPr lang="en-US" sz="1300" dirty="0" err="1">
                <a:latin typeface="Arial" panose="020B0604020202020204" pitchFamily="34" charset="0"/>
                <a:cs typeface="Arial" panose="020B0604020202020204" pitchFamily="34" charset="0"/>
              </a:rPr>
              <a:t>standardised</a:t>
            </a:r>
            <a:r>
              <a:rPr lang="en-US" sz="1300" dirty="0">
                <a:latin typeface="Arial" panose="020B0604020202020204" pitchFamily="34" charset="0"/>
                <a:cs typeface="Arial" panose="020B0604020202020204" pitchFamily="34" charset="0"/>
              </a:rPr>
              <a:t> framework has been updated to enhance risk capture.</a:t>
            </a:r>
          </a:p>
          <a:p>
            <a:pPr marL="285750" indent="-285750">
              <a:buFont typeface="Arial" panose="020B0604020202020204" pitchFamily="34" charset="0"/>
              <a:buChar char="•"/>
            </a:pPr>
            <a:endParaRPr lang="en-US" sz="1300" b="1"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300" b="1" dirty="0">
                <a:latin typeface="Arial" panose="020B0604020202020204" pitchFamily="34" charset="0"/>
                <a:cs typeface="Arial" panose="020B0604020202020204" pitchFamily="34" charset="0"/>
              </a:rPr>
              <a:t>[High attention to the banks with the outliers in NII and EVE + “capital consequences”]</a:t>
            </a:r>
            <a:r>
              <a:rPr lang="en-US" sz="1300" dirty="0">
                <a:latin typeface="Arial" panose="020B0604020202020204" pitchFamily="34" charset="0"/>
                <a:cs typeface="Arial" panose="020B0604020202020204" pitchFamily="34" charset="0"/>
              </a:rPr>
              <a:t> Supervisors must publish their criteria for identifying outlier banks under Principle 12. The threshold for the identification of an “outlier bank” has also been tightened, where the outlier/materiality test(s) applied by supervisors should at least include one which compares the bank’s ∆EVE with 15% of its Tier 1 capital, under a set of prescribed interest rate shock scenarios. Supervisors may implement additional outlier/materiality tests with their own specific measures. There is a strong presumption for supervisory and/or regulatory capital consequences, when a review of a bank’s IRRBB exposure reveals inadequate management or excessive risk relative to a bank’s capital, earnings or general risk profile.</a:t>
            </a:r>
            <a:endParaRPr lang="en-NL" sz="1300"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52B6EE28-6B94-4077-8B54-07A0416DBEFA}"/>
              </a:ext>
            </a:extLst>
          </p:cNvPr>
          <p:cNvSpPr txBox="1"/>
          <p:nvPr/>
        </p:nvSpPr>
        <p:spPr>
          <a:xfrm>
            <a:off x="641411" y="6506374"/>
            <a:ext cx="6094520" cy="276999"/>
          </a:xfrm>
          <a:prstGeom prst="rect">
            <a:avLst/>
          </a:prstGeom>
          <a:noFill/>
        </p:spPr>
        <p:txBody>
          <a:bodyPr wrap="square">
            <a:spAutoFit/>
          </a:bodyPr>
          <a:lstStyle/>
          <a:p>
            <a:r>
              <a:rPr lang="en-US" sz="1200" dirty="0">
                <a:hlinkClick r:id="rId2"/>
              </a:rPr>
              <a:t>Interest rate risk in the banking book (bis.org)</a:t>
            </a:r>
            <a:endParaRPr lang="en-NL" sz="1200" dirty="0"/>
          </a:p>
        </p:txBody>
      </p:sp>
      <p:sp>
        <p:nvSpPr>
          <p:cNvPr id="4" name="Plus Sign 3">
            <a:extLst>
              <a:ext uri="{FF2B5EF4-FFF2-40B4-BE49-F238E27FC236}">
                <a16:creationId xmlns:a16="http://schemas.microsoft.com/office/drawing/2014/main" id="{19BE9838-E979-05E9-AE13-F65C01198833}"/>
              </a:ext>
            </a:extLst>
          </p:cNvPr>
          <p:cNvSpPr/>
          <p:nvPr/>
        </p:nvSpPr>
        <p:spPr>
          <a:xfrm>
            <a:off x="5406501" y="5429157"/>
            <a:ext cx="337351" cy="369332"/>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6" name="TextBox 5">
            <a:extLst>
              <a:ext uri="{FF2B5EF4-FFF2-40B4-BE49-F238E27FC236}">
                <a16:creationId xmlns:a16="http://schemas.microsoft.com/office/drawing/2014/main" id="{E721F06D-2E71-B87C-8987-4D1944F7C1E9}"/>
              </a:ext>
            </a:extLst>
          </p:cNvPr>
          <p:cNvSpPr txBox="1"/>
          <p:nvPr/>
        </p:nvSpPr>
        <p:spPr>
          <a:xfrm>
            <a:off x="3429740" y="5908406"/>
            <a:ext cx="5332520" cy="369332"/>
          </a:xfrm>
          <a:prstGeom prst="rect">
            <a:avLst/>
          </a:prstGeom>
          <a:noFill/>
        </p:spPr>
        <p:txBody>
          <a:bodyPr wrap="square" rtlCol="0">
            <a:spAutoFit/>
          </a:bodyPr>
          <a:lstStyle/>
          <a:p>
            <a:r>
              <a:rPr lang="en-US" b="1" dirty="0"/>
              <a:t>ECAP calculations for IRRBB under ICAAP</a:t>
            </a:r>
            <a:endParaRPr lang="en-NL" b="1" dirty="0"/>
          </a:p>
        </p:txBody>
      </p:sp>
    </p:spTree>
    <p:extLst>
      <p:ext uri="{BB962C8B-B14F-4D97-AF65-F5344CB8AC3E}">
        <p14:creationId xmlns:p14="http://schemas.microsoft.com/office/powerpoint/2010/main" val="13839935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2</a:t>
            </a:fld>
            <a:endParaRPr lang="en-US" dirty="0"/>
          </a:p>
        </p:txBody>
      </p:sp>
      <p:pic>
        <p:nvPicPr>
          <p:cNvPr id="7" name="Picture 6">
            <a:extLst>
              <a:ext uri="{FF2B5EF4-FFF2-40B4-BE49-F238E27FC236}">
                <a16:creationId xmlns:a16="http://schemas.microsoft.com/office/drawing/2014/main" id="{20299033-72A7-4916-923F-7D116B1D796D}"/>
              </a:ext>
            </a:extLst>
          </p:cNvPr>
          <p:cNvPicPr>
            <a:picLocks noChangeAspect="1"/>
          </p:cNvPicPr>
          <p:nvPr/>
        </p:nvPicPr>
        <p:blipFill>
          <a:blip r:embed="rId2"/>
          <a:stretch>
            <a:fillRect/>
          </a:stretch>
        </p:blipFill>
        <p:spPr>
          <a:xfrm>
            <a:off x="0" y="0"/>
            <a:ext cx="10255124" cy="6858000"/>
          </a:xfrm>
          <a:prstGeom prst="rect">
            <a:avLst/>
          </a:prstGeom>
        </p:spPr>
      </p:pic>
      <p:sp>
        <p:nvSpPr>
          <p:cNvPr id="12" name="TextBox 11">
            <a:extLst>
              <a:ext uri="{FF2B5EF4-FFF2-40B4-BE49-F238E27FC236}">
                <a16:creationId xmlns:a16="http://schemas.microsoft.com/office/drawing/2014/main" id="{9B3FF94C-B48C-4D1A-B38D-47E676254B88}"/>
              </a:ext>
            </a:extLst>
          </p:cNvPr>
          <p:cNvSpPr txBox="1"/>
          <p:nvPr/>
        </p:nvSpPr>
        <p:spPr>
          <a:xfrm>
            <a:off x="10574725" y="136525"/>
            <a:ext cx="1578810" cy="1200329"/>
          </a:xfrm>
          <a:prstGeom prst="rect">
            <a:avLst/>
          </a:prstGeom>
          <a:noFill/>
        </p:spPr>
        <p:txBody>
          <a:bodyPr wrap="square">
            <a:spAutoFit/>
          </a:bodyPr>
          <a:lstStyle/>
          <a:p>
            <a:r>
              <a:rPr lang="da-DK" dirty="0"/>
              <a:t>Link on research=&gt;</a:t>
            </a:r>
            <a:endParaRPr lang="da-DK" dirty="0">
              <a:hlinkClick r:id="rId3"/>
            </a:endParaRPr>
          </a:p>
          <a:p>
            <a:r>
              <a:rPr lang="da-DK" dirty="0">
                <a:hlinkClick r:id="rId3"/>
              </a:rPr>
              <a:t>ssm.pr171009_slides.hu.pdf</a:t>
            </a:r>
            <a:endParaRPr lang="en-NL" dirty="0"/>
          </a:p>
        </p:txBody>
      </p:sp>
    </p:spTree>
    <p:extLst>
      <p:ext uri="{BB962C8B-B14F-4D97-AF65-F5344CB8AC3E}">
        <p14:creationId xmlns:p14="http://schemas.microsoft.com/office/powerpoint/2010/main" val="9620568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3</a:t>
            </a:fld>
            <a:endParaRPr lang="en-US" dirty="0"/>
          </a:p>
        </p:txBody>
      </p:sp>
      <p:sp>
        <p:nvSpPr>
          <p:cNvPr id="11" name="TextBox 10">
            <a:extLst>
              <a:ext uri="{FF2B5EF4-FFF2-40B4-BE49-F238E27FC236}">
                <a16:creationId xmlns:a16="http://schemas.microsoft.com/office/drawing/2014/main" id="{BB09950D-C344-43B8-8019-0E0EE3D809D4}"/>
              </a:ext>
            </a:extLst>
          </p:cNvPr>
          <p:cNvSpPr txBox="1"/>
          <p:nvPr/>
        </p:nvSpPr>
        <p:spPr>
          <a:xfrm>
            <a:off x="10574725" y="136525"/>
            <a:ext cx="1578810" cy="1200329"/>
          </a:xfrm>
          <a:prstGeom prst="rect">
            <a:avLst/>
          </a:prstGeom>
          <a:noFill/>
        </p:spPr>
        <p:txBody>
          <a:bodyPr wrap="square">
            <a:spAutoFit/>
          </a:bodyPr>
          <a:lstStyle/>
          <a:p>
            <a:r>
              <a:rPr lang="da-DK" dirty="0"/>
              <a:t>Link on research=&gt;</a:t>
            </a:r>
            <a:endParaRPr lang="da-DK" dirty="0">
              <a:hlinkClick r:id="rId2"/>
            </a:endParaRPr>
          </a:p>
          <a:p>
            <a:r>
              <a:rPr lang="da-DK" dirty="0">
                <a:hlinkClick r:id="rId2"/>
              </a:rPr>
              <a:t>ssm.pr171009_slides.hu.pdf</a:t>
            </a:r>
            <a:endParaRPr lang="en-NL" dirty="0"/>
          </a:p>
        </p:txBody>
      </p:sp>
      <p:pic>
        <p:nvPicPr>
          <p:cNvPr id="4" name="Picture 3">
            <a:extLst>
              <a:ext uri="{FF2B5EF4-FFF2-40B4-BE49-F238E27FC236}">
                <a16:creationId xmlns:a16="http://schemas.microsoft.com/office/drawing/2014/main" id="{C2F50882-97E8-4B30-A6E4-10FBB13CD314}"/>
              </a:ext>
            </a:extLst>
          </p:cNvPr>
          <p:cNvPicPr>
            <a:picLocks noChangeAspect="1"/>
          </p:cNvPicPr>
          <p:nvPr/>
        </p:nvPicPr>
        <p:blipFill>
          <a:blip r:embed="rId3"/>
          <a:stretch>
            <a:fillRect/>
          </a:stretch>
        </p:blipFill>
        <p:spPr>
          <a:xfrm>
            <a:off x="0" y="0"/>
            <a:ext cx="10388943" cy="6858000"/>
          </a:xfrm>
          <a:prstGeom prst="rect">
            <a:avLst/>
          </a:prstGeom>
        </p:spPr>
      </p:pic>
    </p:spTree>
    <p:extLst>
      <p:ext uri="{BB962C8B-B14F-4D97-AF65-F5344CB8AC3E}">
        <p14:creationId xmlns:p14="http://schemas.microsoft.com/office/powerpoint/2010/main" val="16283297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4</a:t>
            </a:fld>
            <a:endParaRPr lang="en-US" dirty="0"/>
          </a:p>
        </p:txBody>
      </p:sp>
      <p:sp>
        <p:nvSpPr>
          <p:cNvPr id="11" name="TextBox 10">
            <a:extLst>
              <a:ext uri="{FF2B5EF4-FFF2-40B4-BE49-F238E27FC236}">
                <a16:creationId xmlns:a16="http://schemas.microsoft.com/office/drawing/2014/main" id="{BB09950D-C344-43B8-8019-0E0EE3D809D4}"/>
              </a:ext>
            </a:extLst>
          </p:cNvPr>
          <p:cNvSpPr txBox="1"/>
          <p:nvPr/>
        </p:nvSpPr>
        <p:spPr>
          <a:xfrm>
            <a:off x="10574725" y="136525"/>
            <a:ext cx="1578810" cy="1200329"/>
          </a:xfrm>
          <a:prstGeom prst="rect">
            <a:avLst/>
          </a:prstGeom>
          <a:noFill/>
        </p:spPr>
        <p:txBody>
          <a:bodyPr wrap="square">
            <a:spAutoFit/>
          </a:bodyPr>
          <a:lstStyle/>
          <a:p>
            <a:r>
              <a:rPr lang="da-DK" dirty="0"/>
              <a:t>Link on research=&gt;</a:t>
            </a:r>
            <a:endParaRPr lang="da-DK" dirty="0">
              <a:hlinkClick r:id="rId2"/>
            </a:endParaRPr>
          </a:p>
          <a:p>
            <a:r>
              <a:rPr lang="da-DK" dirty="0">
                <a:hlinkClick r:id="rId2"/>
              </a:rPr>
              <a:t>ssm.pr171009_slides.hu.pdf</a:t>
            </a:r>
            <a:endParaRPr lang="en-NL" dirty="0"/>
          </a:p>
        </p:txBody>
      </p:sp>
      <p:pic>
        <p:nvPicPr>
          <p:cNvPr id="5" name="Picture 4">
            <a:extLst>
              <a:ext uri="{FF2B5EF4-FFF2-40B4-BE49-F238E27FC236}">
                <a16:creationId xmlns:a16="http://schemas.microsoft.com/office/drawing/2014/main" id="{1F0E5A33-280B-4600-A09F-47F03165EB83}"/>
              </a:ext>
            </a:extLst>
          </p:cNvPr>
          <p:cNvPicPr>
            <a:picLocks noChangeAspect="1"/>
          </p:cNvPicPr>
          <p:nvPr/>
        </p:nvPicPr>
        <p:blipFill>
          <a:blip r:embed="rId3"/>
          <a:stretch>
            <a:fillRect/>
          </a:stretch>
        </p:blipFill>
        <p:spPr>
          <a:xfrm>
            <a:off x="0" y="63346"/>
            <a:ext cx="10630400" cy="5760405"/>
          </a:xfrm>
          <a:prstGeom prst="rect">
            <a:avLst/>
          </a:prstGeom>
        </p:spPr>
      </p:pic>
    </p:spTree>
    <p:extLst>
      <p:ext uri="{BB962C8B-B14F-4D97-AF65-F5344CB8AC3E}">
        <p14:creationId xmlns:p14="http://schemas.microsoft.com/office/powerpoint/2010/main" val="15511224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5</a:t>
            </a:fld>
            <a:endParaRPr lang="en-US" dirty="0"/>
          </a:p>
        </p:txBody>
      </p:sp>
      <p:sp>
        <p:nvSpPr>
          <p:cNvPr id="11" name="TextBox 10">
            <a:extLst>
              <a:ext uri="{FF2B5EF4-FFF2-40B4-BE49-F238E27FC236}">
                <a16:creationId xmlns:a16="http://schemas.microsoft.com/office/drawing/2014/main" id="{BB09950D-C344-43B8-8019-0E0EE3D809D4}"/>
              </a:ext>
            </a:extLst>
          </p:cNvPr>
          <p:cNvSpPr txBox="1"/>
          <p:nvPr/>
        </p:nvSpPr>
        <p:spPr>
          <a:xfrm>
            <a:off x="10613190" y="136525"/>
            <a:ext cx="1578810" cy="1200329"/>
          </a:xfrm>
          <a:prstGeom prst="rect">
            <a:avLst/>
          </a:prstGeom>
          <a:noFill/>
        </p:spPr>
        <p:txBody>
          <a:bodyPr wrap="square">
            <a:spAutoFit/>
          </a:bodyPr>
          <a:lstStyle/>
          <a:p>
            <a:r>
              <a:rPr lang="da-DK" dirty="0"/>
              <a:t>Link on research=&gt;</a:t>
            </a:r>
            <a:endParaRPr lang="da-DK" dirty="0">
              <a:hlinkClick r:id="rId2"/>
            </a:endParaRPr>
          </a:p>
          <a:p>
            <a:r>
              <a:rPr lang="da-DK" dirty="0">
                <a:hlinkClick r:id="rId2"/>
              </a:rPr>
              <a:t>ssm.pr171009_slides.hu.pdf</a:t>
            </a:r>
            <a:endParaRPr lang="en-NL" dirty="0"/>
          </a:p>
        </p:txBody>
      </p:sp>
      <p:pic>
        <p:nvPicPr>
          <p:cNvPr id="4" name="Picture 3">
            <a:extLst>
              <a:ext uri="{FF2B5EF4-FFF2-40B4-BE49-F238E27FC236}">
                <a16:creationId xmlns:a16="http://schemas.microsoft.com/office/drawing/2014/main" id="{D63EE18E-3834-42F2-BD40-08BA16AA6383}"/>
              </a:ext>
            </a:extLst>
          </p:cNvPr>
          <p:cNvPicPr>
            <a:picLocks noChangeAspect="1"/>
          </p:cNvPicPr>
          <p:nvPr/>
        </p:nvPicPr>
        <p:blipFill>
          <a:blip r:embed="rId3"/>
          <a:stretch>
            <a:fillRect/>
          </a:stretch>
        </p:blipFill>
        <p:spPr>
          <a:xfrm>
            <a:off x="1" y="44391"/>
            <a:ext cx="10580656" cy="6036816"/>
          </a:xfrm>
          <a:prstGeom prst="rect">
            <a:avLst/>
          </a:prstGeom>
        </p:spPr>
      </p:pic>
    </p:spTree>
    <p:extLst>
      <p:ext uri="{BB962C8B-B14F-4D97-AF65-F5344CB8AC3E}">
        <p14:creationId xmlns:p14="http://schemas.microsoft.com/office/powerpoint/2010/main" val="1681204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6</a:t>
            </a:fld>
            <a:endParaRPr lang="en-US" dirty="0"/>
          </a:p>
        </p:txBody>
      </p:sp>
      <p:sp>
        <p:nvSpPr>
          <p:cNvPr id="11" name="TextBox 10">
            <a:extLst>
              <a:ext uri="{FF2B5EF4-FFF2-40B4-BE49-F238E27FC236}">
                <a16:creationId xmlns:a16="http://schemas.microsoft.com/office/drawing/2014/main" id="{BB09950D-C344-43B8-8019-0E0EE3D809D4}"/>
              </a:ext>
            </a:extLst>
          </p:cNvPr>
          <p:cNvSpPr txBox="1"/>
          <p:nvPr/>
        </p:nvSpPr>
        <p:spPr>
          <a:xfrm>
            <a:off x="10574725" y="136525"/>
            <a:ext cx="1578810" cy="1200329"/>
          </a:xfrm>
          <a:prstGeom prst="rect">
            <a:avLst/>
          </a:prstGeom>
          <a:noFill/>
        </p:spPr>
        <p:txBody>
          <a:bodyPr wrap="square">
            <a:spAutoFit/>
          </a:bodyPr>
          <a:lstStyle/>
          <a:p>
            <a:r>
              <a:rPr lang="da-DK" dirty="0"/>
              <a:t>Link on research=&gt;</a:t>
            </a:r>
            <a:endParaRPr lang="da-DK" dirty="0">
              <a:hlinkClick r:id="rId2"/>
            </a:endParaRPr>
          </a:p>
          <a:p>
            <a:r>
              <a:rPr lang="da-DK" dirty="0">
                <a:hlinkClick r:id="rId2"/>
              </a:rPr>
              <a:t>ssm.pr171009_slides.hu.pdf</a:t>
            </a:r>
            <a:endParaRPr lang="en-NL" dirty="0"/>
          </a:p>
        </p:txBody>
      </p:sp>
      <p:pic>
        <p:nvPicPr>
          <p:cNvPr id="5" name="Picture 4">
            <a:extLst>
              <a:ext uri="{FF2B5EF4-FFF2-40B4-BE49-F238E27FC236}">
                <a16:creationId xmlns:a16="http://schemas.microsoft.com/office/drawing/2014/main" id="{8786B4DB-54D0-49D4-A975-EC0ECEA390B3}"/>
              </a:ext>
            </a:extLst>
          </p:cNvPr>
          <p:cNvPicPr>
            <a:picLocks noChangeAspect="1"/>
          </p:cNvPicPr>
          <p:nvPr/>
        </p:nvPicPr>
        <p:blipFill>
          <a:blip r:embed="rId3"/>
          <a:stretch>
            <a:fillRect/>
          </a:stretch>
        </p:blipFill>
        <p:spPr>
          <a:xfrm>
            <a:off x="0" y="53267"/>
            <a:ext cx="10574725" cy="6112933"/>
          </a:xfrm>
          <a:prstGeom prst="rect">
            <a:avLst/>
          </a:prstGeom>
        </p:spPr>
      </p:pic>
    </p:spTree>
    <p:extLst>
      <p:ext uri="{BB962C8B-B14F-4D97-AF65-F5344CB8AC3E}">
        <p14:creationId xmlns:p14="http://schemas.microsoft.com/office/powerpoint/2010/main" val="405516119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7</a:t>
            </a:fld>
            <a:endParaRPr lang="en-US" dirty="0"/>
          </a:p>
        </p:txBody>
      </p:sp>
      <p:sp>
        <p:nvSpPr>
          <p:cNvPr id="11" name="TextBox 10">
            <a:extLst>
              <a:ext uri="{FF2B5EF4-FFF2-40B4-BE49-F238E27FC236}">
                <a16:creationId xmlns:a16="http://schemas.microsoft.com/office/drawing/2014/main" id="{BB09950D-C344-43B8-8019-0E0EE3D809D4}"/>
              </a:ext>
            </a:extLst>
          </p:cNvPr>
          <p:cNvSpPr txBox="1"/>
          <p:nvPr/>
        </p:nvSpPr>
        <p:spPr>
          <a:xfrm>
            <a:off x="8913181" y="136525"/>
            <a:ext cx="3240354" cy="646331"/>
          </a:xfrm>
          <a:prstGeom prst="rect">
            <a:avLst/>
          </a:prstGeom>
          <a:noFill/>
        </p:spPr>
        <p:txBody>
          <a:bodyPr wrap="square">
            <a:spAutoFit/>
          </a:bodyPr>
          <a:lstStyle/>
          <a:p>
            <a:r>
              <a:rPr lang="da-DK" dirty="0"/>
              <a:t>Link on research=&gt;</a:t>
            </a:r>
            <a:endParaRPr lang="da-DK" dirty="0">
              <a:hlinkClick r:id="rId2"/>
            </a:endParaRPr>
          </a:p>
          <a:p>
            <a:r>
              <a:rPr lang="da-DK" dirty="0">
                <a:hlinkClick r:id="rId2"/>
              </a:rPr>
              <a:t>ssm.pr171009_slides.hu.pdf</a:t>
            </a:r>
            <a:endParaRPr lang="en-NL" dirty="0"/>
          </a:p>
        </p:txBody>
      </p:sp>
      <p:pic>
        <p:nvPicPr>
          <p:cNvPr id="4" name="Picture 3">
            <a:extLst>
              <a:ext uri="{FF2B5EF4-FFF2-40B4-BE49-F238E27FC236}">
                <a16:creationId xmlns:a16="http://schemas.microsoft.com/office/drawing/2014/main" id="{01143419-EC07-4A19-A081-09A719F214FC}"/>
              </a:ext>
            </a:extLst>
          </p:cNvPr>
          <p:cNvPicPr>
            <a:picLocks noChangeAspect="1"/>
          </p:cNvPicPr>
          <p:nvPr/>
        </p:nvPicPr>
        <p:blipFill>
          <a:blip r:embed="rId3"/>
          <a:stretch>
            <a:fillRect/>
          </a:stretch>
        </p:blipFill>
        <p:spPr>
          <a:xfrm>
            <a:off x="284178" y="1251705"/>
            <a:ext cx="5657850" cy="4638675"/>
          </a:xfrm>
          <a:prstGeom prst="rect">
            <a:avLst/>
          </a:prstGeom>
        </p:spPr>
      </p:pic>
      <p:pic>
        <p:nvPicPr>
          <p:cNvPr id="6" name="Picture 5">
            <a:extLst>
              <a:ext uri="{FF2B5EF4-FFF2-40B4-BE49-F238E27FC236}">
                <a16:creationId xmlns:a16="http://schemas.microsoft.com/office/drawing/2014/main" id="{C58F600E-E0CD-44B0-A740-4CAACCDD11E6}"/>
              </a:ext>
            </a:extLst>
          </p:cNvPr>
          <p:cNvPicPr>
            <a:picLocks noChangeAspect="1"/>
          </p:cNvPicPr>
          <p:nvPr/>
        </p:nvPicPr>
        <p:blipFill>
          <a:blip r:embed="rId4"/>
          <a:stretch>
            <a:fillRect/>
          </a:stretch>
        </p:blipFill>
        <p:spPr>
          <a:xfrm>
            <a:off x="6096000" y="1270755"/>
            <a:ext cx="5705475" cy="4619625"/>
          </a:xfrm>
          <a:prstGeom prst="rect">
            <a:avLst/>
          </a:prstGeom>
        </p:spPr>
      </p:pic>
      <p:sp>
        <p:nvSpPr>
          <p:cNvPr id="8" name="TextBox 7">
            <a:extLst>
              <a:ext uri="{FF2B5EF4-FFF2-40B4-BE49-F238E27FC236}">
                <a16:creationId xmlns:a16="http://schemas.microsoft.com/office/drawing/2014/main" id="{9E99B46D-E916-43A6-BC68-8132CE54B575}"/>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esults – once more</a:t>
            </a:r>
          </a:p>
        </p:txBody>
      </p:sp>
    </p:spTree>
    <p:extLst>
      <p:ext uri="{BB962C8B-B14F-4D97-AF65-F5344CB8AC3E}">
        <p14:creationId xmlns:p14="http://schemas.microsoft.com/office/powerpoint/2010/main" val="25018585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8</a:t>
            </a:fld>
            <a:endParaRPr lang="en-US" dirty="0"/>
          </a:p>
        </p:txBody>
      </p:sp>
      <p:sp>
        <p:nvSpPr>
          <p:cNvPr id="11" name="TextBox 10">
            <a:extLst>
              <a:ext uri="{FF2B5EF4-FFF2-40B4-BE49-F238E27FC236}">
                <a16:creationId xmlns:a16="http://schemas.microsoft.com/office/drawing/2014/main" id="{BB09950D-C344-43B8-8019-0E0EE3D809D4}"/>
              </a:ext>
            </a:extLst>
          </p:cNvPr>
          <p:cNvSpPr txBox="1"/>
          <p:nvPr/>
        </p:nvSpPr>
        <p:spPr>
          <a:xfrm>
            <a:off x="10574725" y="136525"/>
            <a:ext cx="1578810" cy="1200329"/>
          </a:xfrm>
          <a:prstGeom prst="rect">
            <a:avLst/>
          </a:prstGeom>
          <a:noFill/>
        </p:spPr>
        <p:txBody>
          <a:bodyPr wrap="square">
            <a:spAutoFit/>
          </a:bodyPr>
          <a:lstStyle/>
          <a:p>
            <a:r>
              <a:rPr lang="da-DK" dirty="0"/>
              <a:t>Link on research=&gt;</a:t>
            </a:r>
            <a:endParaRPr lang="da-DK" dirty="0">
              <a:hlinkClick r:id="rId2"/>
            </a:endParaRPr>
          </a:p>
          <a:p>
            <a:r>
              <a:rPr lang="da-DK" dirty="0">
                <a:hlinkClick r:id="rId2"/>
              </a:rPr>
              <a:t>ssm.pr171009_slides.hu.pdf</a:t>
            </a:r>
            <a:endParaRPr lang="en-NL" dirty="0"/>
          </a:p>
        </p:txBody>
      </p:sp>
      <p:pic>
        <p:nvPicPr>
          <p:cNvPr id="4" name="Picture 3">
            <a:extLst>
              <a:ext uri="{FF2B5EF4-FFF2-40B4-BE49-F238E27FC236}">
                <a16:creationId xmlns:a16="http://schemas.microsoft.com/office/drawing/2014/main" id="{75934AAE-4E2F-404E-8D00-83E1D3A6AE93}"/>
              </a:ext>
            </a:extLst>
          </p:cNvPr>
          <p:cNvPicPr>
            <a:picLocks noChangeAspect="1"/>
          </p:cNvPicPr>
          <p:nvPr/>
        </p:nvPicPr>
        <p:blipFill>
          <a:blip r:embed="rId3"/>
          <a:stretch>
            <a:fillRect/>
          </a:stretch>
        </p:blipFill>
        <p:spPr>
          <a:xfrm>
            <a:off x="1" y="0"/>
            <a:ext cx="10422384" cy="6265891"/>
          </a:xfrm>
          <a:prstGeom prst="rect">
            <a:avLst/>
          </a:prstGeom>
        </p:spPr>
      </p:pic>
    </p:spTree>
    <p:extLst>
      <p:ext uri="{BB962C8B-B14F-4D97-AF65-F5344CB8AC3E}">
        <p14:creationId xmlns:p14="http://schemas.microsoft.com/office/powerpoint/2010/main" val="30940439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9</a:t>
            </a:fld>
            <a:endParaRPr lang="en-US" dirty="0"/>
          </a:p>
        </p:txBody>
      </p:sp>
      <p:sp>
        <p:nvSpPr>
          <p:cNvPr id="11" name="TextBox 10">
            <a:extLst>
              <a:ext uri="{FF2B5EF4-FFF2-40B4-BE49-F238E27FC236}">
                <a16:creationId xmlns:a16="http://schemas.microsoft.com/office/drawing/2014/main" id="{BB09950D-C344-43B8-8019-0E0EE3D809D4}"/>
              </a:ext>
            </a:extLst>
          </p:cNvPr>
          <p:cNvSpPr txBox="1"/>
          <p:nvPr/>
        </p:nvSpPr>
        <p:spPr>
          <a:xfrm>
            <a:off x="10574725" y="136525"/>
            <a:ext cx="1578810" cy="1200329"/>
          </a:xfrm>
          <a:prstGeom prst="rect">
            <a:avLst/>
          </a:prstGeom>
          <a:noFill/>
        </p:spPr>
        <p:txBody>
          <a:bodyPr wrap="square">
            <a:spAutoFit/>
          </a:bodyPr>
          <a:lstStyle/>
          <a:p>
            <a:r>
              <a:rPr lang="da-DK" dirty="0"/>
              <a:t>Link on research=&gt;</a:t>
            </a:r>
            <a:endParaRPr lang="da-DK" dirty="0">
              <a:hlinkClick r:id="rId2"/>
            </a:endParaRPr>
          </a:p>
          <a:p>
            <a:r>
              <a:rPr lang="da-DK" dirty="0">
                <a:hlinkClick r:id="rId2"/>
              </a:rPr>
              <a:t>ssm.pr171009_slides.hu.pdf</a:t>
            </a:r>
            <a:endParaRPr lang="en-NL" dirty="0"/>
          </a:p>
        </p:txBody>
      </p:sp>
      <p:pic>
        <p:nvPicPr>
          <p:cNvPr id="4" name="Picture 3">
            <a:extLst>
              <a:ext uri="{FF2B5EF4-FFF2-40B4-BE49-F238E27FC236}">
                <a16:creationId xmlns:a16="http://schemas.microsoft.com/office/drawing/2014/main" id="{4C8BE61A-2F3A-4FEA-9317-70FF39B404E7}"/>
              </a:ext>
            </a:extLst>
          </p:cNvPr>
          <p:cNvPicPr>
            <a:picLocks noChangeAspect="1"/>
          </p:cNvPicPr>
          <p:nvPr/>
        </p:nvPicPr>
        <p:blipFill>
          <a:blip r:embed="rId3"/>
          <a:stretch>
            <a:fillRect/>
          </a:stretch>
        </p:blipFill>
        <p:spPr>
          <a:xfrm>
            <a:off x="62147" y="53269"/>
            <a:ext cx="10369118" cy="6531079"/>
          </a:xfrm>
          <a:prstGeom prst="rect">
            <a:avLst/>
          </a:prstGeom>
        </p:spPr>
      </p:pic>
    </p:spTree>
    <p:extLst>
      <p:ext uri="{BB962C8B-B14F-4D97-AF65-F5344CB8AC3E}">
        <p14:creationId xmlns:p14="http://schemas.microsoft.com/office/powerpoint/2010/main" val="3199797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8899B5C-B28F-01B0-27BB-4680B8866280}"/>
              </a:ext>
            </a:extLst>
          </p:cNvPr>
          <p:cNvPicPr>
            <a:picLocks noChangeAspect="1"/>
          </p:cNvPicPr>
          <p:nvPr/>
        </p:nvPicPr>
        <p:blipFill>
          <a:blip r:embed="rId2"/>
          <a:stretch>
            <a:fillRect/>
          </a:stretch>
        </p:blipFill>
        <p:spPr>
          <a:xfrm>
            <a:off x="6484690" y="3188017"/>
            <a:ext cx="4773336" cy="3668059"/>
          </a:xfrm>
          <a:prstGeom prst="rect">
            <a:avLst/>
          </a:prstGeom>
        </p:spPr>
      </p:pic>
      <p:sp>
        <p:nvSpPr>
          <p:cNvPr id="2" name="Номер слайда 1"/>
          <p:cNvSpPr>
            <a:spLocks noGrp="1"/>
          </p:cNvSpPr>
          <p:nvPr>
            <p:ph type="sldNum" sz="quarter" idx="12"/>
          </p:nvPr>
        </p:nvSpPr>
        <p:spPr/>
        <p:txBody>
          <a:bodyPr/>
          <a:lstStyle/>
          <a:p>
            <a:fld id="{48F63A3B-78C7-47BE-AE5E-E10140E04643}" type="slidenum">
              <a:rPr lang="en-US" smtClean="0"/>
              <a:t>3</a:t>
            </a:fld>
            <a:endParaRPr lang="en-US" dirty="0"/>
          </a:p>
        </p:txBody>
      </p:sp>
      <p:pic>
        <p:nvPicPr>
          <p:cNvPr id="8" name="Picture 7">
            <a:extLst>
              <a:ext uri="{FF2B5EF4-FFF2-40B4-BE49-F238E27FC236}">
                <a16:creationId xmlns:a16="http://schemas.microsoft.com/office/drawing/2014/main" id="{5A33AA78-930B-A479-6ED5-5587E6DF2C1B}"/>
              </a:ext>
            </a:extLst>
          </p:cNvPr>
          <p:cNvPicPr>
            <a:picLocks noChangeAspect="1"/>
          </p:cNvPicPr>
          <p:nvPr/>
        </p:nvPicPr>
        <p:blipFill>
          <a:blip r:embed="rId3"/>
          <a:stretch>
            <a:fillRect/>
          </a:stretch>
        </p:blipFill>
        <p:spPr>
          <a:xfrm>
            <a:off x="307072" y="169913"/>
            <a:ext cx="9658350" cy="3145336"/>
          </a:xfrm>
          <a:prstGeom prst="rect">
            <a:avLst/>
          </a:prstGeom>
        </p:spPr>
      </p:pic>
      <p:sp>
        <p:nvSpPr>
          <p:cNvPr id="9" name="TextBox 8">
            <a:extLst>
              <a:ext uri="{FF2B5EF4-FFF2-40B4-BE49-F238E27FC236}">
                <a16:creationId xmlns:a16="http://schemas.microsoft.com/office/drawing/2014/main" id="{93BE4C8E-A918-63CA-7D49-B8A18393AE70}"/>
              </a:ext>
            </a:extLst>
          </p:cNvPr>
          <p:cNvSpPr txBox="1"/>
          <p:nvPr/>
        </p:nvSpPr>
        <p:spPr>
          <a:xfrm>
            <a:off x="573682" y="3320723"/>
            <a:ext cx="5197943" cy="2462213"/>
          </a:xfrm>
          <a:prstGeom prst="rect">
            <a:avLst/>
          </a:prstGeom>
          <a:noFill/>
        </p:spPr>
        <p:txBody>
          <a:bodyPr wrap="square" rtlCol="0">
            <a:spAutoFit/>
          </a:bodyPr>
          <a:lstStyle/>
          <a:p>
            <a:r>
              <a:rPr lang="en-GB" sz="1400" b="1" dirty="0">
                <a:latin typeface="Arial" panose="020B0604020202020204" pitchFamily="34" charset="0"/>
                <a:cs typeface="Arial" panose="020B0604020202020204" pitchFamily="34" charset="0"/>
              </a:rPr>
              <a:t>Key rate</a:t>
            </a:r>
            <a:r>
              <a:rPr lang="ru-RU" sz="1400" b="1" baseline="30000" dirty="0">
                <a:latin typeface="Arial" panose="020B0604020202020204" pitchFamily="34" charset="0"/>
                <a:cs typeface="Arial" panose="020B0604020202020204" pitchFamily="34" charset="0"/>
              </a:rPr>
              <a:t>1</a:t>
            </a:r>
            <a:r>
              <a:rPr lang="en-GB" sz="1400" b="1" dirty="0">
                <a:latin typeface="Arial" panose="020B0604020202020204" pitchFamily="34" charset="0"/>
                <a:cs typeface="Arial" panose="020B0604020202020204" pitchFamily="34" charset="0"/>
              </a:rPr>
              <a:t>:</a:t>
            </a:r>
            <a:r>
              <a:rPr lang="ru-RU" sz="1400" b="1" dirty="0">
                <a:latin typeface="Arial" panose="020B0604020202020204" pitchFamily="34" charset="0"/>
                <a:cs typeface="Arial" panose="020B0604020202020204" pitchFamily="34" charset="0"/>
              </a:rPr>
              <a:t> 	</a:t>
            </a:r>
            <a:endParaRPr lang="en-GB" sz="1400" b="1" baseline="30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400" dirty="0">
                <a:latin typeface="Arial" panose="020B0604020202020204" pitchFamily="34" charset="0"/>
                <a:cs typeface="Arial" panose="020B0604020202020204" pitchFamily="34" charset="0"/>
              </a:rPr>
              <a:t>plays information and signal role in monetary policy</a:t>
            </a:r>
          </a:p>
          <a:p>
            <a:pPr marL="285750" indent="-285750">
              <a:buFont typeface="Arial" panose="020B0604020202020204" pitchFamily="34" charset="0"/>
              <a:buChar char="•"/>
            </a:pPr>
            <a:r>
              <a:rPr lang="en-GB" sz="1400" dirty="0">
                <a:latin typeface="Arial" panose="020B0604020202020204" pitchFamily="34" charset="0"/>
                <a:cs typeface="Arial" panose="020B0604020202020204" pitchFamily="34" charset="0"/>
              </a:rPr>
              <a:t>is the minimum interest rate on 1 week reverse REPO auction with CB or the maximal interest rate on deposits in CB (In order to make reverse REPO with CB bank needs to possess securities from Lombard list</a:t>
            </a:r>
            <a:r>
              <a:rPr lang="ru-RU" sz="1400" b="1" baseline="30000" dirty="0">
                <a:latin typeface="Arial" panose="020B0604020202020204" pitchFamily="34" charset="0"/>
                <a:cs typeface="Arial" panose="020B0604020202020204" pitchFamily="34" charset="0"/>
              </a:rPr>
              <a:t>2</a:t>
            </a:r>
            <a:r>
              <a:rPr lang="en-GB" sz="1400" dirty="0">
                <a:latin typeface="Arial" panose="020B0604020202020204" pitchFamily="34" charset="0"/>
                <a:cs typeface="Arial" panose="020B0604020202020204" pitchFamily="34" charset="0"/>
              </a:rPr>
              <a:t>)</a:t>
            </a:r>
          </a:p>
          <a:p>
            <a:pPr marL="285750" indent="-285750">
              <a:buFont typeface="Arial" panose="020B0604020202020204" pitchFamily="34" charset="0"/>
              <a:buChar char="•"/>
            </a:pPr>
            <a:r>
              <a:rPr lang="en-GB" sz="1400" dirty="0">
                <a:latin typeface="Arial" panose="020B0604020202020204" pitchFamily="34" charset="0"/>
                <a:cs typeface="Arial" panose="020B0604020202020204" pitchFamily="34" charset="0"/>
              </a:rPr>
              <a:t>main goal =&gt; in Russia targeting inflation. In some other countries targeting inflation and unemployment</a:t>
            </a:r>
            <a:endParaRPr lang="ru-RU"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ru-RU" sz="1400" dirty="0">
              <a:latin typeface="Arial" panose="020B0604020202020204" pitchFamily="34" charset="0"/>
              <a:cs typeface="Arial" panose="020B0604020202020204" pitchFamily="34" charset="0"/>
            </a:endParaRPr>
          </a:p>
          <a:p>
            <a:r>
              <a:rPr lang="en-GB" sz="1400" dirty="0">
                <a:latin typeface="Arial" panose="020B0604020202020204" pitchFamily="34" charset="0"/>
                <a:cs typeface="Arial" panose="020B0604020202020204" pitchFamily="34" charset="0"/>
              </a:rPr>
              <a:t>For your record, except reverse repo banks can attract funding from CB pledging high credit quality loans (4801-Y scheme</a:t>
            </a:r>
            <a:r>
              <a:rPr lang="ru-RU" sz="1400" b="1" baseline="30000" dirty="0">
                <a:latin typeface="Arial" panose="020B0604020202020204" pitchFamily="34" charset="0"/>
                <a:cs typeface="Arial" panose="020B0604020202020204" pitchFamily="34" charset="0"/>
              </a:rPr>
              <a:t> 4</a:t>
            </a:r>
            <a:r>
              <a:rPr lang="en-GB" sz="1400" dirty="0">
                <a:latin typeface="Arial" panose="020B0604020202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id="{D5A4D912-299E-D761-B479-9A1EE288090C}"/>
              </a:ext>
            </a:extLst>
          </p:cNvPr>
          <p:cNvSpPr txBox="1"/>
          <p:nvPr/>
        </p:nvSpPr>
        <p:spPr>
          <a:xfrm>
            <a:off x="6357807" y="3258124"/>
            <a:ext cx="4900219" cy="338554"/>
          </a:xfrm>
          <a:prstGeom prst="rect">
            <a:avLst/>
          </a:prstGeom>
          <a:noFill/>
        </p:spPr>
        <p:txBody>
          <a:bodyPr wrap="square" rtlCol="0">
            <a:spAutoFit/>
          </a:bodyPr>
          <a:lstStyle/>
          <a:p>
            <a:pPr algn="l" fontAlgn="base"/>
            <a:r>
              <a:rPr lang="en-GB" sz="1600" b="1" i="0" dirty="0">
                <a:solidFill>
                  <a:srgbClr val="000000"/>
                </a:solidFill>
                <a:effectLst/>
                <a:latin typeface="Arial" panose="020B0604020202020204" pitchFamily="34" charset="0"/>
                <a:cs typeface="Arial" panose="020B0604020202020204" pitchFamily="34" charset="0"/>
              </a:rPr>
              <a:t>Transmission mechanism</a:t>
            </a:r>
            <a:r>
              <a:rPr lang="ru-RU" sz="1600" b="1" baseline="30000" dirty="0">
                <a:latin typeface="Arial" panose="020B0604020202020204" pitchFamily="34" charset="0"/>
                <a:cs typeface="Arial" panose="020B0604020202020204" pitchFamily="34" charset="0"/>
              </a:rPr>
              <a:t>3 </a:t>
            </a:r>
            <a:r>
              <a:rPr lang="en-GB" sz="1600" b="1" i="0" dirty="0">
                <a:solidFill>
                  <a:srgbClr val="000000"/>
                </a:solidFill>
                <a:effectLst/>
                <a:latin typeface="Arial" panose="020B0604020202020204" pitchFamily="34" charset="0"/>
                <a:cs typeface="Arial" panose="020B0604020202020204" pitchFamily="34" charset="0"/>
              </a:rPr>
              <a:t>:</a:t>
            </a:r>
          </a:p>
        </p:txBody>
      </p:sp>
      <p:pic>
        <p:nvPicPr>
          <p:cNvPr id="13" name="Picture 12">
            <a:extLst>
              <a:ext uri="{FF2B5EF4-FFF2-40B4-BE49-F238E27FC236}">
                <a16:creationId xmlns:a16="http://schemas.microsoft.com/office/drawing/2014/main" id="{2FEDC256-019E-F24A-445F-0AE0F60FC8A0}"/>
              </a:ext>
            </a:extLst>
          </p:cNvPr>
          <p:cNvPicPr>
            <a:picLocks noChangeAspect="1"/>
          </p:cNvPicPr>
          <p:nvPr/>
        </p:nvPicPr>
        <p:blipFill>
          <a:blip r:embed="rId3"/>
          <a:stretch>
            <a:fillRect/>
          </a:stretch>
        </p:blipFill>
        <p:spPr>
          <a:xfrm>
            <a:off x="273516" y="102801"/>
            <a:ext cx="9658350" cy="3145336"/>
          </a:xfrm>
          <a:prstGeom prst="rect">
            <a:avLst/>
          </a:prstGeom>
        </p:spPr>
      </p:pic>
      <p:sp>
        <p:nvSpPr>
          <p:cNvPr id="16" name="TextBox 15">
            <a:extLst>
              <a:ext uri="{FF2B5EF4-FFF2-40B4-BE49-F238E27FC236}">
                <a16:creationId xmlns:a16="http://schemas.microsoft.com/office/drawing/2014/main" id="{2DFCC966-469B-517A-A7DB-9868F3C401DA}"/>
              </a:ext>
            </a:extLst>
          </p:cNvPr>
          <p:cNvSpPr txBox="1"/>
          <p:nvPr/>
        </p:nvSpPr>
        <p:spPr>
          <a:xfrm>
            <a:off x="534100" y="5940851"/>
            <a:ext cx="6094602" cy="830997"/>
          </a:xfrm>
          <a:prstGeom prst="rect">
            <a:avLst/>
          </a:prstGeom>
          <a:noFill/>
        </p:spPr>
        <p:txBody>
          <a:bodyPr wrap="square">
            <a:spAutoFit/>
          </a:bodyPr>
          <a:lstStyle/>
          <a:p>
            <a:r>
              <a:rPr lang="ru-RU" sz="1200" b="1" baseline="30000" dirty="0">
                <a:latin typeface="Arial" panose="020B0604020202020204" pitchFamily="34" charset="0"/>
                <a:cs typeface="Arial" panose="020B0604020202020204" pitchFamily="34" charset="0"/>
              </a:rPr>
              <a:t>1</a:t>
            </a:r>
            <a:r>
              <a:rPr lang="en-GB" sz="1200" dirty="0">
                <a:latin typeface="Arial" panose="020B0604020202020204" pitchFamily="34" charset="0"/>
                <a:cs typeface="Arial" panose="020B0604020202020204" pitchFamily="34" charset="0"/>
              </a:rPr>
              <a:t> </a:t>
            </a:r>
            <a:r>
              <a:rPr lang="en-GB" sz="1200" dirty="0">
                <a:latin typeface="Arial" panose="020B0604020202020204" pitchFamily="34" charset="0"/>
                <a:cs typeface="Arial" panose="020B0604020202020204" pitchFamily="34" charset="0"/>
                <a:hlinkClick r:id="rId4"/>
              </a:rPr>
              <a:t>https://cbr.ru/eng/hd_base/KeyRate/</a:t>
            </a:r>
            <a:r>
              <a:rPr lang="en-GB" sz="1200" dirty="0">
                <a:latin typeface="Arial" panose="020B0604020202020204" pitchFamily="34" charset="0"/>
                <a:cs typeface="Arial" panose="020B0604020202020204" pitchFamily="34" charset="0"/>
              </a:rPr>
              <a:t> </a:t>
            </a:r>
          </a:p>
          <a:p>
            <a:r>
              <a:rPr lang="ru-RU" sz="1200" b="1" baseline="30000" dirty="0">
                <a:latin typeface="Arial" panose="020B0604020202020204" pitchFamily="34" charset="0"/>
                <a:cs typeface="Arial" panose="020B0604020202020204" pitchFamily="34" charset="0"/>
              </a:rPr>
              <a:t>2 </a:t>
            </a:r>
            <a:r>
              <a:rPr lang="en-GB" sz="1200" dirty="0">
                <a:latin typeface="Arial" panose="020B0604020202020204" pitchFamily="34" charset="0"/>
                <a:cs typeface="Arial" panose="020B0604020202020204" pitchFamily="34" charset="0"/>
                <a:hlinkClick r:id="rId5"/>
              </a:rPr>
              <a:t>https://cbr.ru/eng/analytics/lombardlist/</a:t>
            </a:r>
            <a:r>
              <a:rPr lang="en-GB" sz="1200" dirty="0">
                <a:latin typeface="Arial" panose="020B0604020202020204" pitchFamily="34" charset="0"/>
                <a:cs typeface="Arial" panose="020B0604020202020204" pitchFamily="34" charset="0"/>
              </a:rPr>
              <a:t> </a:t>
            </a:r>
          </a:p>
          <a:p>
            <a:r>
              <a:rPr lang="ru-RU" sz="1200" b="1" baseline="30000" dirty="0">
                <a:latin typeface="Arial" panose="020B0604020202020204" pitchFamily="34" charset="0"/>
                <a:cs typeface="Arial" panose="020B0604020202020204" pitchFamily="34" charset="0"/>
              </a:rPr>
              <a:t>3</a:t>
            </a:r>
            <a:r>
              <a:rPr lang="en-GB" sz="1200" dirty="0">
                <a:latin typeface="Arial" panose="020B0604020202020204" pitchFamily="34" charset="0"/>
                <a:cs typeface="Arial" panose="020B0604020202020204" pitchFamily="34" charset="0"/>
              </a:rPr>
              <a:t> </a:t>
            </a:r>
            <a:r>
              <a:rPr lang="en-GB" sz="1200" dirty="0">
                <a:latin typeface="Arial" panose="020B0604020202020204" pitchFamily="34" charset="0"/>
                <a:cs typeface="Arial" panose="020B0604020202020204" pitchFamily="34" charset="0"/>
                <a:hlinkClick r:id="rId6"/>
              </a:rPr>
              <a:t>https://www.ecb.europa.eu/mopo/intro/transmission/html/index.en.html</a:t>
            </a:r>
            <a:r>
              <a:rPr lang="en-GB" sz="1200" dirty="0">
                <a:latin typeface="Arial" panose="020B0604020202020204" pitchFamily="34" charset="0"/>
                <a:cs typeface="Arial" panose="020B0604020202020204" pitchFamily="34" charset="0"/>
              </a:rPr>
              <a:t> </a:t>
            </a:r>
            <a:endParaRPr lang="ru-RU" sz="1200" dirty="0">
              <a:latin typeface="Arial" panose="020B0604020202020204" pitchFamily="34" charset="0"/>
              <a:cs typeface="Arial" panose="020B0604020202020204" pitchFamily="34" charset="0"/>
            </a:endParaRPr>
          </a:p>
          <a:p>
            <a:r>
              <a:rPr lang="ru-RU" sz="1200" b="1" baseline="30000" dirty="0">
                <a:latin typeface="Arial" panose="020B0604020202020204" pitchFamily="34" charset="0"/>
                <a:cs typeface="Arial" panose="020B0604020202020204" pitchFamily="34" charset="0"/>
              </a:rPr>
              <a:t>4</a:t>
            </a:r>
            <a:r>
              <a:rPr lang="en-GB" sz="1200" dirty="0">
                <a:latin typeface="Arial" panose="020B0604020202020204" pitchFamily="34" charset="0"/>
                <a:cs typeface="Arial" panose="020B0604020202020204" pitchFamily="34" charset="0"/>
              </a:rPr>
              <a:t> </a:t>
            </a:r>
            <a:r>
              <a:rPr lang="en-GB" sz="1200" dirty="0">
                <a:latin typeface="Arial" panose="020B0604020202020204" pitchFamily="34" charset="0"/>
                <a:cs typeface="Arial" panose="020B0604020202020204" pitchFamily="34" charset="0"/>
                <a:hlinkClick r:id="rId7"/>
              </a:rPr>
              <a:t>https://cbr.ru/oper_br/t_odm/secured_loans/</a:t>
            </a:r>
            <a:r>
              <a:rPr lang="en-GB" sz="1200"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281944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0</a:t>
            </a:fld>
            <a:endParaRPr lang="en-US" dirty="0"/>
          </a:p>
        </p:txBody>
      </p:sp>
      <p:sp>
        <p:nvSpPr>
          <p:cNvPr id="11" name="TextBox 10">
            <a:extLst>
              <a:ext uri="{FF2B5EF4-FFF2-40B4-BE49-F238E27FC236}">
                <a16:creationId xmlns:a16="http://schemas.microsoft.com/office/drawing/2014/main" id="{BB09950D-C344-43B8-8019-0E0EE3D809D4}"/>
              </a:ext>
            </a:extLst>
          </p:cNvPr>
          <p:cNvSpPr txBox="1"/>
          <p:nvPr/>
        </p:nvSpPr>
        <p:spPr>
          <a:xfrm>
            <a:off x="10574725" y="136525"/>
            <a:ext cx="1578810" cy="1200329"/>
          </a:xfrm>
          <a:prstGeom prst="rect">
            <a:avLst/>
          </a:prstGeom>
          <a:noFill/>
        </p:spPr>
        <p:txBody>
          <a:bodyPr wrap="square">
            <a:spAutoFit/>
          </a:bodyPr>
          <a:lstStyle/>
          <a:p>
            <a:r>
              <a:rPr lang="da-DK" dirty="0"/>
              <a:t>Link on research=&gt;</a:t>
            </a:r>
            <a:endParaRPr lang="da-DK" dirty="0">
              <a:hlinkClick r:id="rId2"/>
            </a:endParaRPr>
          </a:p>
          <a:p>
            <a:r>
              <a:rPr lang="da-DK" dirty="0">
                <a:hlinkClick r:id="rId2"/>
              </a:rPr>
              <a:t>ssm.pr171009_slides.hu.pdf</a:t>
            </a:r>
            <a:endParaRPr lang="en-NL" dirty="0"/>
          </a:p>
        </p:txBody>
      </p:sp>
      <p:pic>
        <p:nvPicPr>
          <p:cNvPr id="4" name="Picture 3">
            <a:extLst>
              <a:ext uri="{FF2B5EF4-FFF2-40B4-BE49-F238E27FC236}">
                <a16:creationId xmlns:a16="http://schemas.microsoft.com/office/drawing/2014/main" id="{3111B2C3-E963-479B-9B06-0EC84EC99BA3}"/>
              </a:ext>
            </a:extLst>
          </p:cNvPr>
          <p:cNvPicPr>
            <a:picLocks noChangeAspect="1"/>
          </p:cNvPicPr>
          <p:nvPr/>
        </p:nvPicPr>
        <p:blipFill>
          <a:blip r:embed="rId3"/>
          <a:stretch>
            <a:fillRect/>
          </a:stretch>
        </p:blipFill>
        <p:spPr>
          <a:xfrm>
            <a:off x="0" y="71022"/>
            <a:ext cx="9650027" cy="6554084"/>
          </a:xfrm>
          <a:prstGeom prst="rect">
            <a:avLst/>
          </a:prstGeom>
        </p:spPr>
      </p:pic>
    </p:spTree>
    <p:extLst>
      <p:ext uri="{BB962C8B-B14F-4D97-AF65-F5344CB8AC3E}">
        <p14:creationId xmlns:p14="http://schemas.microsoft.com/office/powerpoint/2010/main" val="16239286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1</a:t>
            </a:fld>
            <a:endParaRPr lang="en-US" dirty="0"/>
          </a:p>
        </p:txBody>
      </p:sp>
      <p:sp>
        <p:nvSpPr>
          <p:cNvPr id="11" name="TextBox 10">
            <a:extLst>
              <a:ext uri="{FF2B5EF4-FFF2-40B4-BE49-F238E27FC236}">
                <a16:creationId xmlns:a16="http://schemas.microsoft.com/office/drawing/2014/main" id="{BB09950D-C344-43B8-8019-0E0EE3D809D4}"/>
              </a:ext>
            </a:extLst>
          </p:cNvPr>
          <p:cNvSpPr txBox="1"/>
          <p:nvPr/>
        </p:nvSpPr>
        <p:spPr>
          <a:xfrm>
            <a:off x="10574725" y="136525"/>
            <a:ext cx="1578810" cy="1200329"/>
          </a:xfrm>
          <a:prstGeom prst="rect">
            <a:avLst/>
          </a:prstGeom>
          <a:noFill/>
        </p:spPr>
        <p:txBody>
          <a:bodyPr wrap="square">
            <a:spAutoFit/>
          </a:bodyPr>
          <a:lstStyle/>
          <a:p>
            <a:r>
              <a:rPr lang="da-DK" dirty="0"/>
              <a:t>Link on research=&gt;</a:t>
            </a:r>
            <a:endParaRPr lang="da-DK" dirty="0">
              <a:hlinkClick r:id="rId2"/>
            </a:endParaRPr>
          </a:p>
          <a:p>
            <a:r>
              <a:rPr lang="da-DK" dirty="0">
                <a:hlinkClick r:id="rId2"/>
              </a:rPr>
              <a:t>ssm.pr171009_slides.hu.pdf</a:t>
            </a:r>
            <a:endParaRPr lang="en-NL" dirty="0"/>
          </a:p>
        </p:txBody>
      </p:sp>
      <p:pic>
        <p:nvPicPr>
          <p:cNvPr id="5" name="Picture 4">
            <a:extLst>
              <a:ext uri="{FF2B5EF4-FFF2-40B4-BE49-F238E27FC236}">
                <a16:creationId xmlns:a16="http://schemas.microsoft.com/office/drawing/2014/main" id="{837C5759-45A0-43DC-8565-C74AF28123B6}"/>
              </a:ext>
            </a:extLst>
          </p:cNvPr>
          <p:cNvPicPr>
            <a:picLocks noChangeAspect="1"/>
          </p:cNvPicPr>
          <p:nvPr/>
        </p:nvPicPr>
        <p:blipFill>
          <a:blip r:embed="rId3"/>
          <a:stretch>
            <a:fillRect/>
          </a:stretch>
        </p:blipFill>
        <p:spPr>
          <a:xfrm>
            <a:off x="0" y="0"/>
            <a:ext cx="10129421" cy="6782384"/>
          </a:xfrm>
          <a:prstGeom prst="rect">
            <a:avLst/>
          </a:prstGeom>
        </p:spPr>
      </p:pic>
    </p:spTree>
    <p:extLst>
      <p:ext uri="{BB962C8B-B14F-4D97-AF65-F5344CB8AC3E}">
        <p14:creationId xmlns:p14="http://schemas.microsoft.com/office/powerpoint/2010/main" val="39869748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2</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Levels of IRR managements</a:t>
            </a:r>
          </a:p>
        </p:txBody>
      </p:sp>
      <p:graphicFrame>
        <p:nvGraphicFramePr>
          <p:cNvPr id="6" name="Diagram 5">
            <a:extLst>
              <a:ext uri="{FF2B5EF4-FFF2-40B4-BE49-F238E27FC236}">
                <a16:creationId xmlns:a16="http://schemas.microsoft.com/office/drawing/2014/main" id="{13ED6E41-6289-460B-BAE9-304E921B4555}"/>
              </a:ext>
            </a:extLst>
          </p:cNvPr>
          <p:cNvGraphicFramePr/>
          <p:nvPr>
            <p:extLst>
              <p:ext uri="{D42A27DB-BD31-4B8C-83A1-F6EECF244321}">
                <p14:modId xmlns:p14="http://schemas.microsoft.com/office/powerpoint/2010/main" val="2793582741"/>
              </p:ext>
            </p:extLst>
          </p:nvPr>
        </p:nvGraphicFramePr>
        <p:xfrm>
          <a:off x="440241" y="1076328"/>
          <a:ext cx="4324350" cy="50620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9" name="Straight Connector 8">
            <a:extLst>
              <a:ext uri="{FF2B5EF4-FFF2-40B4-BE49-F238E27FC236}">
                <a16:creationId xmlns:a16="http://schemas.microsoft.com/office/drawing/2014/main" id="{B0A39E29-580B-410B-94A4-8966AC40A585}"/>
              </a:ext>
            </a:extLst>
          </p:cNvPr>
          <p:cNvCxnSpPr/>
          <p:nvPr/>
        </p:nvCxnSpPr>
        <p:spPr>
          <a:xfrm>
            <a:off x="511649" y="2758735"/>
            <a:ext cx="11032014" cy="0"/>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502FB7F-08B3-473F-9827-C88F050F5A53}"/>
              </a:ext>
            </a:extLst>
          </p:cNvPr>
          <p:cNvCxnSpPr/>
          <p:nvPr/>
        </p:nvCxnSpPr>
        <p:spPr>
          <a:xfrm>
            <a:off x="579993" y="4444660"/>
            <a:ext cx="11032014" cy="0"/>
          </a:xfrm>
          <a:prstGeom prst="line">
            <a:avLst/>
          </a:prstGeom>
          <a:ln>
            <a:solidFill>
              <a:schemeClr val="tx1"/>
            </a:solidFill>
            <a:prstDash val="dashDot"/>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0752E6A3-4425-48A0-9570-33BE5F54B45C}"/>
              </a:ext>
            </a:extLst>
          </p:cNvPr>
          <p:cNvSpPr txBox="1"/>
          <p:nvPr/>
        </p:nvSpPr>
        <p:spPr>
          <a:xfrm>
            <a:off x="4741308" y="1486280"/>
            <a:ext cx="7228749" cy="1107996"/>
          </a:xfrm>
          <a:prstGeom prst="rect">
            <a:avLst/>
          </a:prstGeom>
          <a:noFill/>
        </p:spPr>
        <p:txBody>
          <a:bodyPr wrap="square" rtlCol="0">
            <a:spAutoFit/>
          </a:bodyPr>
          <a:lstStyle/>
          <a:p>
            <a:pPr marL="285750" indent="-285750">
              <a:buFont typeface="Arial" panose="020B0604020202020204" pitchFamily="34" charset="0"/>
              <a:buChar char="•"/>
            </a:pPr>
            <a:r>
              <a:rPr lang="en-GB" sz="2200" dirty="0">
                <a:latin typeface="Arial" panose="020B0604020202020204" pitchFamily="34" charset="0"/>
                <a:cs typeface="Arial" panose="020B0604020202020204" pitchFamily="34" charset="0"/>
              </a:rPr>
              <a:t>Define target margin: ROE</a:t>
            </a:r>
          </a:p>
          <a:p>
            <a:pPr marL="285750" indent="-285750">
              <a:buFont typeface="Arial" panose="020B0604020202020204" pitchFamily="34" charset="0"/>
              <a:buChar char="•"/>
            </a:pPr>
            <a:r>
              <a:rPr lang="en-GB" sz="2200" dirty="0">
                <a:latin typeface="Arial" panose="020B0604020202020204" pitchFamily="34" charset="0"/>
                <a:cs typeface="Arial" panose="020B0604020202020204" pitchFamily="34" charset="0"/>
              </a:rPr>
              <a:t>Choose IRR management strategy: minimize risk, optimize risk-return or maximize profitability (slide 32)</a:t>
            </a:r>
          </a:p>
        </p:txBody>
      </p:sp>
      <p:sp>
        <p:nvSpPr>
          <p:cNvPr id="13" name="TextBox 12">
            <a:extLst>
              <a:ext uri="{FF2B5EF4-FFF2-40B4-BE49-F238E27FC236}">
                <a16:creationId xmlns:a16="http://schemas.microsoft.com/office/drawing/2014/main" id="{9AD3A892-2754-4EB3-A4DA-CB0772BFAF88}"/>
              </a:ext>
            </a:extLst>
          </p:cNvPr>
          <p:cNvSpPr txBox="1"/>
          <p:nvPr/>
        </p:nvSpPr>
        <p:spPr>
          <a:xfrm>
            <a:off x="4741308" y="2895376"/>
            <a:ext cx="6981099" cy="1446550"/>
          </a:xfrm>
          <a:prstGeom prst="rect">
            <a:avLst/>
          </a:prstGeom>
          <a:noFill/>
        </p:spPr>
        <p:txBody>
          <a:bodyPr wrap="square" rtlCol="0">
            <a:spAutoFit/>
          </a:bodyPr>
          <a:lstStyle/>
          <a:p>
            <a:pPr marL="285750" indent="-285750">
              <a:buFont typeface="Arial" panose="020B0604020202020204" pitchFamily="34" charset="0"/>
              <a:buChar char="•"/>
            </a:pPr>
            <a:r>
              <a:rPr lang="en-GB" sz="2200" dirty="0">
                <a:latin typeface="Arial" panose="020B0604020202020204" pitchFamily="34" charset="0"/>
                <a:cs typeface="Arial" panose="020B0604020202020204" pitchFamily="34" charset="0"/>
              </a:rPr>
              <a:t>Define the volumes of new business on the level of products/currencies </a:t>
            </a:r>
          </a:p>
          <a:p>
            <a:pPr marL="285750" indent="-285750">
              <a:buFont typeface="Arial" panose="020B0604020202020204" pitchFamily="34" charset="0"/>
              <a:buChar char="•"/>
            </a:pPr>
            <a:r>
              <a:rPr lang="en-GB" sz="2200" dirty="0">
                <a:latin typeface="Arial" panose="020B0604020202020204" pitchFamily="34" charset="0"/>
                <a:cs typeface="Arial" panose="020B0604020202020204" pitchFamily="34" charset="0"/>
              </a:rPr>
              <a:t>Define risk appetite limits for the business plan horizon (slide 13 incl. but not only)</a:t>
            </a:r>
            <a:endParaRPr lang="en-NL" sz="2200" dirty="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8774A0F6-E177-49B2-90C1-41ECDC52A906}"/>
              </a:ext>
            </a:extLst>
          </p:cNvPr>
          <p:cNvSpPr txBox="1"/>
          <p:nvPr/>
        </p:nvSpPr>
        <p:spPr>
          <a:xfrm>
            <a:off x="4741308" y="4800260"/>
            <a:ext cx="6648756" cy="769441"/>
          </a:xfrm>
          <a:prstGeom prst="rect">
            <a:avLst/>
          </a:prstGeom>
          <a:noFill/>
        </p:spPr>
        <p:txBody>
          <a:bodyPr wrap="square" rtlCol="0">
            <a:spAutoFit/>
          </a:bodyPr>
          <a:lstStyle/>
          <a:p>
            <a:pPr marL="285750" indent="-285750">
              <a:buFont typeface="Arial" panose="020B0604020202020204" pitchFamily="34" charset="0"/>
              <a:buChar char="•"/>
            </a:pPr>
            <a:r>
              <a:rPr lang="en-GB" sz="2200" dirty="0">
                <a:latin typeface="Arial" panose="020B0604020202020204" pitchFamily="34" charset="0"/>
                <a:cs typeface="Arial" panose="020B0604020202020204" pitchFamily="34" charset="0"/>
              </a:rPr>
              <a:t>Monitoring of metrics (slide 13 incl. but not only)</a:t>
            </a:r>
          </a:p>
          <a:p>
            <a:pPr marL="285750" indent="-285750">
              <a:buFont typeface="Arial" panose="020B0604020202020204" pitchFamily="34" charset="0"/>
              <a:buChar char="•"/>
            </a:pPr>
            <a:r>
              <a:rPr lang="en-GB" sz="2200" dirty="0">
                <a:latin typeface="Arial" panose="020B0604020202020204" pitchFamily="34" charset="0"/>
                <a:cs typeface="Arial" panose="020B0604020202020204" pitchFamily="34" charset="0"/>
              </a:rPr>
              <a:t>Making deals: loans, deposits, derivatives, etc</a:t>
            </a:r>
            <a:endParaRPr lang="en-NL" sz="2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087215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3</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Strategies of IRR management</a:t>
            </a:r>
          </a:p>
        </p:txBody>
      </p:sp>
      <p:graphicFrame>
        <p:nvGraphicFramePr>
          <p:cNvPr id="7" name="Table 12">
            <a:extLst>
              <a:ext uri="{FF2B5EF4-FFF2-40B4-BE49-F238E27FC236}">
                <a16:creationId xmlns:a16="http://schemas.microsoft.com/office/drawing/2014/main" id="{6FF43420-5F97-4112-B0D3-FE928926660A}"/>
              </a:ext>
            </a:extLst>
          </p:cNvPr>
          <p:cNvGraphicFramePr>
            <a:graphicFrameLocks noGrp="1"/>
          </p:cNvGraphicFramePr>
          <p:nvPr>
            <p:extLst>
              <p:ext uri="{D42A27DB-BD31-4B8C-83A1-F6EECF244321}">
                <p14:modId xmlns:p14="http://schemas.microsoft.com/office/powerpoint/2010/main" val="1886567318"/>
              </p:ext>
            </p:extLst>
          </p:nvPr>
        </p:nvGraphicFramePr>
        <p:xfrm>
          <a:off x="527048" y="1297516"/>
          <a:ext cx="10826752" cy="4299540"/>
        </p:xfrm>
        <a:graphic>
          <a:graphicData uri="http://schemas.openxmlformats.org/drawingml/2006/table">
            <a:tbl>
              <a:tblPr firstRow="1" bandRow="1">
                <a:tableStyleId>{5C22544A-7EE6-4342-B048-85BDC9FD1C3A}</a:tableStyleId>
              </a:tblPr>
              <a:tblGrid>
                <a:gridCol w="1606550">
                  <a:extLst>
                    <a:ext uri="{9D8B030D-6E8A-4147-A177-3AD203B41FA5}">
                      <a16:colId xmlns:a16="http://schemas.microsoft.com/office/drawing/2014/main" val="3710295305"/>
                    </a:ext>
                  </a:extLst>
                </a:gridCol>
                <a:gridCol w="3209925">
                  <a:extLst>
                    <a:ext uri="{9D8B030D-6E8A-4147-A177-3AD203B41FA5}">
                      <a16:colId xmlns:a16="http://schemas.microsoft.com/office/drawing/2014/main" val="3231357072"/>
                    </a:ext>
                  </a:extLst>
                </a:gridCol>
                <a:gridCol w="2276475">
                  <a:extLst>
                    <a:ext uri="{9D8B030D-6E8A-4147-A177-3AD203B41FA5}">
                      <a16:colId xmlns:a16="http://schemas.microsoft.com/office/drawing/2014/main" val="2710642118"/>
                    </a:ext>
                  </a:extLst>
                </a:gridCol>
                <a:gridCol w="3733802">
                  <a:extLst>
                    <a:ext uri="{9D8B030D-6E8A-4147-A177-3AD203B41FA5}">
                      <a16:colId xmlns:a16="http://schemas.microsoft.com/office/drawing/2014/main" val="4010724671"/>
                    </a:ext>
                  </a:extLst>
                </a:gridCol>
              </a:tblGrid>
              <a:tr h="877896">
                <a:tc>
                  <a:txBody>
                    <a:bodyPr/>
                    <a:lstStyle/>
                    <a:p>
                      <a:endParaRPr lang="en-NL" sz="22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2200" dirty="0">
                          <a:solidFill>
                            <a:schemeClr val="tx1"/>
                          </a:solidFill>
                          <a:latin typeface="Arial" panose="020B0604020202020204" pitchFamily="34" charset="0"/>
                          <a:cs typeface="Arial" panose="020B0604020202020204" pitchFamily="34" charset="0"/>
                        </a:rPr>
                        <a:t>minimize risk</a:t>
                      </a:r>
                      <a:endParaRPr lang="en-NL" sz="22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2200" dirty="0">
                          <a:solidFill>
                            <a:schemeClr val="tx1"/>
                          </a:solidFill>
                          <a:latin typeface="Arial" panose="020B0604020202020204" pitchFamily="34" charset="0"/>
                          <a:cs typeface="Arial" panose="020B0604020202020204" pitchFamily="34" charset="0"/>
                        </a:rPr>
                        <a:t>optimize risk-return</a:t>
                      </a:r>
                      <a:endParaRPr lang="en-NL" sz="22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2200" dirty="0">
                          <a:solidFill>
                            <a:schemeClr val="tx1"/>
                          </a:solidFill>
                          <a:latin typeface="Arial" panose="020B0604020202020204" pitchFamily="34" charset="0"/>
                          <a:cs typeface="Arial" panose="020B0604020202020204" pitchFamily="34" charset="0"/>
                        </a:rPr>
                        <a:t>maximize profitability </a:t>
                      </a:r>
                      <a:endParaRPr lang="en-NL" sz="22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01856323"/>
                  </a:ext>
                </a:extLst>
              </a:tr>
              <a:tr h="2422994">
                <a:tc>
                  <a:txBody>
                    <a:bodyPr/>
                    <a:lstStyle/>
                    <a:p>
                      <a:r>
                        <a:rPr lang="en-GB" sz="2200" dirty="0">
                          <a:solidFill>
                            <a:schemeClr val="tx1"/>
                          </a:solidFill>
                          <a:latin typeface="Arial" panose="020B0604020202020204" pitchFamily="34" charset="0"/>
                          <a:cs typeface="Arial" panose="020B0604020202020204" pitchFamily="34" charset="0"/>
                        </a:rPr>
                        <a:t>Description</a:t>
                      </a:r>
                      <a:endParaRPr lang="en-NL" sz="22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indent="-342900">
                        <a:buFont typeface="Arial" panose="020B0604020202020204" pitchFamily="34" charset="0"/>
                        <a:buChar char="•"/>
                      </a:pPr>
                      <a:r>
                        <a:rPr lang="en-GB" sz="2200" dirty="0">
                          <a:solidFill>
                            <a:schemeClr val="tx1"/>
                          </a:solidFill>
                          <a:latin typeface="Arial" panose="020B0604020202020204" pitchFamily="34" charset="0"/>
                          <a:cs typeface="Arial" panose="020B0604020202020204" pitchFamily="34" charset="0"/>
                        </a:rPr>
                        <a:t>~ prudent IRR risk limits;</a:t>
                      </a:r>
                    </a:p>
                    <a:p>
                      <a:pPr marL="342900" indent="-342900">
                        <a:buFont typeface="Arial" panose="020B0604020202020204" pitchFamily="34" charset="0"/>
                        <a:buChar char="•"/>
                      </a:pPr>
                      <a:r>
                        <a:rPr lang="en-GB" sz="2200" dirty="0">
                          <a:solidFill>
                            <a:schemeClr val="tx1"/>
                          </a:solidFill>
                          <a:latin typeface="Arial" panose="020B0604020202020204" pitchFamily="34" charset="0"/>
                          <a:cs typeface="Arial" panose="020B0604020202020204" pitchFamily="34" charset="0"/>
                        </a:rPr>
                        <a:t>active use of interest rate derivatives</a:t>
                      </a:r>
                    </a:p>
                    <a:p>
                      <a:pPr marL="342900" indent="-342900">
                        <a:buFont typeface="Arial" panose="020B0604020202020204" pitchFamily="34" charset="0"/>
                        <a:buChar char="•"/>
                      </a:pPr>
                      <a:r>
                        <a:rPr lang="en-GB" sz="2200" dirty="0">
                          <a:solidFill>
                            <a:schemeClr val="tx1"/>
                          </a:solidFill>
                          <a:latin typeface="Arial" panose="020B0604020202020204" pitchFamily="34" charset="0"/>
                          <a:cs typeface="Arial" panose="020B0604020202020204" pitchFamily="34" charset="0"/>
                        </a:rPr>
                        <a:t>avoid </a:t>
                      </a:r>
                      <a:r>
                        <a:rPr lang="en-GB" sz="2200" dirty="0" err="1">
                          <a:solidFill>
                            <a:schemeClr val="tx1"/>
                          </a:solidFill>
                          <a:latin typeface="Arial" panose="020B0604020202020204" pitchFamily="34" charset="0"/>
                          <a:cs typeface="Arial" panose="020B0604020202020204" pitchFamily="34" charset="0"/>
                        </a:rPr>
                        <a:t>optionalities</a:t>
                      </a:r>
                      <a:r>
                        <a:rPr lang="en-GB" sz="2200" dirty="0">
                          <a:solidFill>
                            <a:schemeClr val="tx1"/>
                          </a:solidFill>
                          <a:latin typeface="Arial" panose="020B0604020202020204" pitchFamily="34" charset="0"/>
                          <a:cs typeface="Arial" panose="020B0604020202020204" pitchFamily="34" charset="0"/>
                        </a:rPr>
                        <a:t> in contracts and etc</a:t>
                      </a:r>
                      <a:endParaRPr lang="en-NL" sz="22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indent="-342900">
                        <a:buFont typeface="Arial" panose="020B0604020202020204" pitchFamily="34" charset="0"/>
                        <a:buChar char="•"/>
                      </a:pPr>
                      <a:r>
                        <a:rPr lang="en-GB" sz="2200" dirty="0">
                          <a:solidFill>
                            <a:schemeClr val="tx1"/>
                          </a:solidFill>
                          <a:latin typeface="Arial" panose="020B0604020202020204" pitchFamily="34" charset="0"/>
                          <a:cs typeface="Arial" panose="020B0604020202020204" pitchFamily="34" charset="0"/>
                        </a:rPr>
                        <a:t>Somewhere in between</a:t>
                      </a:r>
                      <a:endParaRPr lang="en-NL" sz="22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indent="-342900">
                        <a:buFont typeface="Arial" panose="020B0604020202020204" pitchFamily="34" charset="0"/>
                        <a:buChar char="•"/>
                      </a:pPr>
                      <a:r>
                        <a:rPr lang="en-GB" sz="2200" dirty="0">
                          <a:solidFill>
                            <a:schemeClr val="tx1"/>
                          </a:solidFill>
                          <a:latin typeface="Arial" panose="020B0604020202020204" pitchFamily="34" charset="0"/>
                          <a:cs typeface="Arial" panose="020B0604020202020204" pitchFamily="34" charset="0"/>
                        </a:rPr>
                        <a:t>Maximization of interest income based on assumptions: level of int rates; form of curve; realization of </a:t>
                      </a:r>
                      <a:r>
                        <a:rPr lang="en-GB" sz="2200" dirty="0" err="1">
                          <a:solidFill>
                            <a:schemeClr val="tx1"/>
                          </a:solidFill>
                          <a:latin typeface="Arial" panose="020B0604020202020204" pitchFamily="34" charset="0"/>
                          <a:cs typeface="Arial" panose="020B0604020202020204" pitchFamily="34" charset="0"/>
                        </a:rPr>
                        <a:t>optionalities</a:t>
                      </a:r>
                      <a:r>
                        <a:rPr lang="en-GB" sz="2200" dirty="0">
                          <a:solidFill>
                            <a:schemeClr val="tx1"/>
                          </a:solidFill>
                          <a:latin typeface="Arial" panose="020B0604020202020204" pitchFamily="34" charset="0"/>
                          <a:cs typeface="Arial" panose="020B0604020202020204" pitchFamily="34" charset="0"/>
                        </a:rPr>
                        <a:t>, derivatives and etc.  </a:t>
                      </a:r>
                      <a:endParaRPr lang="en-NL" sz="22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41936001"/>
                  </a:ext>
                </a:extLst>
              </a:tr>
              <a:tr h="491622">
                <a:tc>
                  <a:txBody>
                    <a:bodyPr/>
                    <a:lstStyle/>
                    <a:p>
                      <a:r>
                        <a:rPr lang="en-GB" sz="2200" dirty="0">
                          <a:solidFill>
                            <a:schemeClr val="tx1"/>
                          </a:solidFill>
                          <a:latin typeface="Arial" panose="020B0604020202020204" pitchFamily="34" charset="0"/>
                          <a:cs typeface="Arial" panose="020B0604020202020204" pitchFamily="34" charset="0"/>
                        </a:rPr>
                        <a:t>1y NII</a:t>
                      </a:r>
                      <a:endParaRPr lang="en-NL" sz="22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200" dirty="0">
                          <a:solidFill>
                            <a:schemeClr val="tx1"/>
                          </a:solidFill>
                          <a:latin typeface="Arial" panose="020B0604020202020204" pitchFamily="34" charset="0"/>
                          <a:cs typeface="Arial" panose="020B0604020202020204" pitchFamily="34" charset="0"/>
                        </a:rPr>
                        <a:t>6 </a:t>
                      </a:r>
                      <a:r>
                        <a:rPr lang="en-GB" sz="2200" dirty="0" err="1">
                          <a:solidFill>
                            <a:schemeClr val="tx1"/>
                          </a:solidFill>
                          <a:latin typeface="Arial" panose="020B0604020202020204" pitchFamily="34" charset="0"/>
                          <a:cs typeface="Arial" panose="020B0604020202020204" pitchFamily="34" charset="0"/>
                        </a:rPr>
                        <a:t>mln</a:t>
                      </a:r>
                      <a:endParaRPr lang="en-NL" sz="22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200" dirty="0">
                          <a:solidFill>
                            <a:schemeClr val="tx1"/>
                          </a:solidFill>
                          <a:latin typeface="Arial" panose="020B0604020202020204" pitchFamily="34" charset="0"/>
                          <a:cs typeface="Arial" panose="020B0604020202020204" pitchFamily="34" charset="0"/>
                        </a:rPr>
                        <a:t>12 </a:t>
                      </a:r>
                      <a:r>
                        <a:rPr lang="en-GB" sz="2200" dirty="0" err="1">
                          <a:solidFill>
                            <a:schemeClr val="tx1"/>
                          </a:solidFill>
                          <a:latin typeface="Arial" panose="020B0604020202020204" pitchFamily="34" charset="0"/>
                          <a:cs typeface="Arial" panose="020B0604020202020204" pitchFamily="34" charset="0"/>
                        </a:rPr>
                        <a:t>mln</a:t>
                      </a:r>
                      <a:endParaRPr lang="en-NL" sz="22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200" dirty="0">
                          <a:solidFill>
                            <a:schemeClr val="tx1"/>
                          </a:solidFill>
                          <a:latin typeface="Arial" panose="020B0604020202020204" pitchFamily="34" charset="0"/>
                          <a:cs typeface="Arial" panose="020B0604020202020204" pitchFamily="34" charset="0"/>
                        </a:rPr>
                        <a:t>18 </a:t>
                      </a:r>
                      <a:r>
                        <a:rPr lang="en-GB" sz="2200" dirty="0" err="1">
                          <a:solidFill>
                            <a:schemeClr val="tx1"/>
                          </a:solidFill>
                          <a:latin typeface="Arial" panose="020B0604020202020204" pitchFamily="34" charset="0"/>
                          <a:cs typeface="Arial" panose="020B0604020202020204" pitchFamily="34" charset="0"/>
                        </a:rPr>
                        <a:t>mln</a:t>
                      </a:r>
                      <a:endParaRPr lang="en-NL" sz="22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06297610"/>
                  </a:ext>
                </a:extLst>
              </a:tr>
              <a:tr h="491622">
                <a:tc>
                  <a:txBody>
                    <a:bodyPr/>
                    <a:lstStyle/>
                    <a:p>
                      <a:r>
                        <a:rPr lang="en-GB" sz="2200" dirty="0" err="1">
                          <a:solidFill>
                            <a:schemeClr val="tx1"/>
                          </a:solidFill>
                          <a:latin typeface="Arial" panose="020B0604020202020204" pitchFamily="34" charset="0"/>
                          <a:cs typeface="Arial" panose="020B0604020202020204" pitchFamily="34" charset="0"/>
                        </a:rPr>
                        <a:t>ECap</a:t>
                      </a:r>
                      <a:endParaRPr lang="en-NL" sz="22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200" dirty="0">
                          <a:solidFill>
                            <a:schemeClr val="tx1"/>
                          </a:solidFill>
                          <a:latin typeface="Arial" panose="020B0604020202020204" pitchFamily="34" charset="0"/>
                          <a:cs typeface="Arial" panose="020B0604020202020204" pitchFamily="34" charset="0"/>
                        </a:rPr>
                        <a:t>25 </a:t>
                      </a:r>
                      <a:r>
                        <a:rPr lang="en-GB" sz="2200" dirty="0" err="1">
                          <a:solidFill>
                            <a:schemeClr val="tx1"/>
                          </a:solidFill>
                          <a:latin typeface="Arial" panose="020B0604020202020204" pitchFamily="34" charset="0"/>
                          <a:cs typeface="Arial" panose="020B0604020202020204" pitchFamily="34" charset="0"/>
                        </a:rPr>
                        <a:t>mln</a:t>
                      </a:r>
                      <a:endParaRPr lang="en-NL" sz="22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200" dirty="0">
                          <a:solidFill>
                            <a:schemeClr val="tx1"/>
                          </a:solidFill>
                          <a:latin typeface="Arial" panose="020B0604020202020204" pitchFamily="34" charset="0"/>
                          <a:cs typeface="Arial" panose="020B0604020202020204" pitchFamily="34" charset="0"/>
                        </a:rPr>
                        <a:t>60 </a:t>
                      </a:r>
                      <a:r>
                        <a:rPr lang="en-GB" sz="2200" dirty="0" err="1">
                          <a:solidFill>
                            <a:schemeClr val="tx1"/>
                          </a:solidFill>
                          <a:latin typeface="Arial" panose="020B0604020202020204" pitchFamily="34" charset="0"/>
                          <a:cs typeface="Arial" panose="020B0604020202020204" pitchFamily="34" charset="0"/>
                        </a:rPr>
                        <a:t>mln</a:t>
                      </a:r>
                      <a:endParaRPr lang="en-NL" sz="22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200" dirty="0">
                          <a:solidFill>
                            <a:schemeClr val="tx1"/>
                          </a:solidFill>
                          <a:latin typeface="Arial" panose="020B0604020202020204" pitchFamily="34" charset="0"/>
                          <a:cs typeface="Arial" panose="020B0604020202020204" pitchFamily="34" charset="0"/>
                        </a:rPr>
                        <a:t>120 </a:t>
                      </a:r>
                      <a:r>
                        <a:rPr lang="en-GB" sz="2200" dirty="0" err="1">
                          <a:solidFill>
                            <a:schemeClr val="tx1"/>
                          </a:solidFill>
                          <a:latin typeface="Arial" panose="020B0604020202020204" pitchFamily="34" charset="0"/>
                          <a:cs typeface="Arial" panose="020B0604020202020204" pitchFamily="34" charset="0"/>
                        </a:rPr>
                        <a:t>mln</a:t>
                      </a:r>
                      <a:endParaRPr lang="en-NL" sz="22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22463483"/>
                  </a:ext>
                </a:extLst>
              </a:tr>
            </a:tbl>
          </a:graphicData>
        </a:graphic>
      </p:graphicFrame>
    </p:spTree>
    <p:extLst>
      <p:ext uri="{BB962C8B-B14F-4D97-AF65-F5344CB8AC3E}">
        <p14:creationId xmlns:p14="http://schemas.microsoft.com/office/powerpoint/2010/main" val="31213074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4</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nstruments of IRR management</a:t>
            </a:r>
          </a:p>
        </p:txBody>
      </p:sp>
      <p:graphicFrame>
        <p:nvGraphicFramePr>
          <p:cNvPr id="3" name="Table 3">
            <a:extLst>
              <a:ext uri="{FF2B5EF4-FFF2-40B4-BE49-F238E27FC236}">
                <a16:creationId xmlns:a16="http://schemas.microsoft.com/office/drawing/2014/main" id="{3FB1392B-9DAC-40D6-AF12-16AF88B26518}"/>
              </a:ext>
            </a:extLst>
          </p:cNvPr>
          <p:cNvGraphicFramePr>
            <a:graphicFrameLocks noGrp="1"/>
          </p:cNvGraphicFramePr>
          <p:nvPr>
            <p:extLst>
              <p:ext uri="{D42A27DB-BD31-4B8C-83A1-F6EECF244321}">
                <p14:modId xmlns:p14="http://schemas.microsoft.com/office/powerpoint/2010/main" val="3003055135"/>
              </p:ext>
            </p:extLst>
          </p:nvPr>
        </p:nvGraphicFramePr>
        <p:xfrm>
          <a:off x="507998" y="1176866"/>
          <a:ext cx="11350922" cy="4232528"/>
        </p:xfrm>
        <a:graphic>
          <a:graphicData uri="http://schemas.openxmlformats.org/drawingml/2006/table">
            <a:tbl>
              <a:tblPr firstRow="1" bandRow="1">
                <a:tableStyleId>{5C22544A-7EE6-4342-B048-85BDC9FD1C3A}</a:tableStyleId>
              </a:tblPr>
              <a:tblGrid>
                <a:gridCol w="703520">
                  <a:extLst>
                    <a:ext uri="{9D8B030D-6E8A-4147-A177-3AD203B41FA5}">
                      <a16:colId xmlns:a16="http://schemas.microsoft.com/office/drawing/2014/main" val="531520062"/>
                    </a:ext>
                  </a:extLst>
                </a:gridCol>
                <a:gridCol w="3015089">
                  <a:extLst>
                    <a:ext uri="{9D8B030D-6E8A-4147-A177-3AD203B41FA5}">
                      <a16:colId xmlns:a16="http://schemas.microsoft.com/office/drawing/2014/main" val="3819974403"/>
                    </a:ext>
                  </a:extLst>
                </a:gridCol>
                <a:gridCol w="7632313">
                  <a:extLst>
                    <a:ext uri="{9D8B030D-6E8A-4147-A177-3AD203B41FA5}">
                      <a16:colId xmlns:a16="http://schemas.microsoft.com/office/drawing/2014/main" val="2835479836"/>
                    </a:ext>
                  </a:extLst>
                </a:gridCol>
              </a:tblGrid>
              <a:tr h="769940">
                <a:tc>
                  <a:txBody>
                    <a:bodyPr/>
                    <a:lstStyle/>
                    <a:p>
                      <a:r>
                        <a:rPr lang="en-GB" sz="2000" dirty="0">
                          <a:solidFill>
                            <a:schemeClr val="tx1"/>
                          </a:solidFill>
                          <a:latin typeface="Arial" panose="020B0604020202020204" pitchFamily="34" charset="0"/>
                          <a:cs typeface="Arial" panose="020B0604020202020204" pitchFamily="34" charset="0"/>
                        </a:rPr>
                        <a:t>#</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2000" dirty="0">
                          <a:solidFill>
                            <a:schemeClr val="tx1"/>
                          </a:solidFill>
                          <a:latin typeface="Arial" panose="020B0604020202020204" pitchFamily="34" charset="0"/>
                          <a:cs typeface="Arial" panose="020B0604020202020204" pitchFamily="34" charset="0"/>
                        </a:rPr>
                        <a:t>Instruments</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GB" sz="2000" dirty="0">
                          <a:solidFill>
                            <a:schemeClr val="tx1"/>
                          </a:solidFill>
                          <a:latin typeface="Arial" panose="020B0604020202020204" pitchFamily="34" charset="0"/>
                          <a:cs typeface="Arial" panose="020B0604020202020204" pitchFamily="34" charset="0"/>
                        </a:rPr>
                        <a:t>Description</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29528141"/>
                  </a:ext>
                </a:extLst>
              </a:tr>
              <a:tr h="916868">
                <a:tc>
                  <a:txBody>
                    <a:bodyPr/>
                    <a:lstStyle/>
                    <a:p>
                      <a:r>
                        <a:rPr lang="en-GB" sz="2000" dirty="0">
                          <a:solidFill>
                            <a:schemeClr val="tx1"/>
                          </a:solidFill>
                          <a:latin typeface="Arial" panose="020B0604020202020204" pitchFamily="34" charset="0"/>
                          <a:cs typeface="Arial" panose="020B0604020202020204" pitchFamily="34" charset="0"/>
                        </a:rPr>
                        <a:t>1</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chemeClr val="tx1"/>
                          </a:solidFill>
                          <a:latin typeface="Arial" panose="020B0604020202020204" pitchFamily="34" charset="0"/>
                          <a:cs typeface="Arial" panose="020B0604020202020204" pitchFamily="34" charset="0"/>
                        </a:rPr>
                        <a:t>Structuring the products</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indent="-342900">
                        <a:buFont typeface="Arial" panose="020B0604020202020204" pitchFamily="34" charset="0"/>
                        <a:buChar char="•"/>
                      </a:pPr>
                      <a:r>
                        <a:rPr lang="en-GB" sz="2000" dirty="0">
                          <a:solidFill>
                            <a:schemeClr val="tx1"/>
                          </a:solidFill>
                          <a:latin typeface="Arial" panose="020B0604020202020204" pitchFamily="34" charset="0"/>
                          <a:cs typeface="Arial" panose="020B0604020202020204" pitchFamily="34" charset="0"/>
                        </a:rPr>
                        <a:t>Floating rate</a:t>
                      </a:r>
                    </a:p>
                    <a:p>
                      <a:pPr marL="342900" indent="-342900">
                        <a:buFont typeface="Arial" panose="020B0604020202020204" pitchFamily="34" charset="0"/>
                        <a:buChar char="•"/>
                      </a:pPr>
                      <a:r>
                        <a:rPr lang="en-GB" sz="2000" dirty="0">
                          <a:solidFill>
                            <a:schemeClr val="tx1"/>
                          </a:solidFill>
                          <a:latin typeface="Arial" panose="020B0604020202020204" pitchFamily="34" charset="0"/>
                          <a:cs typeface="Arial" panose="020B0604020202020204" pitchFamily="34" charset="0"/>
                        </a:rPr>
                        <a:t>Principal schedule</a:t>
                      </a:r>
                    </a:p>
                    <a:p>
                      <a:pPr marL="342900" indent="-342900">
                        <a:buFont typeface="Arial" panose="020B0604020202020204" pitchFamily="34" charset="0"/>
                        <a:buChar char="•"/>
                      </a:pPr>
                      <a:r>
                        <a:rPr lang="en-GB" sz="2000" dirty="0">
                          <a:solidFill>
                            <a:schemeClr val="tx1"/>
                          </a:solidFill>
                          <a:latin typeface="Arial" panose="020B0604020202020204" pitchFamily="34" charset="0"/>
                          <a:cs typeface="Arial" panose="020B0604020202020204" pitchFamily="34" charset="0"/>
                        </a:rPr>
                        <a:t>Removing or adding optionality (slide 3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09076929"/>
                  </a:ext>
                </a:extLst>
              </a:tr>
              <a:tr h="916868">
                <a:tc>
                  <a:txBody>
                    <a:bodyPr/>
                    <a:lstStyle/>
                    <a:p>
                      <a:r>
                        <a:rPr lang="en-GB" sz="2000" dirty="0">
                          <a:solidFill>
                            <a:schemeClr val="tx1"/>
                          </a:solidFill>
                          <a:latin typeface="Arial" panose="020B0604020202020204" pitchFamily="34" charset="0"/>
                          <a:cs typeface="Arial" panose="020B0604020202020204" pitchFamily="34" charset="0"/>
                        </a:rPr>
                        <a:t>2</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chemeClr val="tx1"/>
                          </a:solidFill>
                          <a:latin typeface="Arial" panose="020B0604020202020204" pitchFamily="34" charset="0"/>
                          <a:cs typeface="Arial" panose="020B0604020202020204" pitchFamily="34" charset="0"/>
                        </a:rPr>
                        <a:t>Limits</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chemeClr val="tx1"/>
                          </a:solidFill>
                          <a:latin typeface="Arial" panose="020B0604020202020204" pitchFamily="34" charset="0"/>
                          <a:cs typeface="Arial" panose="020B0604020202020204" pitchFamily="34" charset="0"/>
                        </a:rPr>
                        <a:t>Defining the limit system with a variety of business and risk metrics on the level of business segments and products (slide 13)</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0747293"/>
                  </a:ext>
                </a:extLst>
              </a:tr>
              <a:tr h="769940">
                <a:tc>
                  <a:txBody>
                    <a:bodyPr/>
                    <a:lstStyle/>
                    <a:p>
                      <a:r>
                        <a:rPr lang="en-GB" sz="2000" dirty="0">
                          <a:solidFill>
                            <a:schemeClr val="tx1"/>
                          </a:solidFill>
                          <a:latin typeface="Arial" panose="020B0604020202020204" pitchFamily="34" charset="0"/>
                          <a:cs typeface="Arial" panose="020B0604020202020204" pitchFamily="34" charset="0"/>
                        </a:rPr>
                        <a:t>3</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chemeClr val="tx1"/>
                          </a:solidFill>
                          <a:latin typeface="Arial" panose="020B0604020202020204" pitchFamily="34" charset="0"/>
                          <a:cs typeface="Arial" panose="020B0604020202020204" pitchFamily="34" charset="0"/>
                        </a:rPr>
                        <a:t>Hedging</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chemeClr val="tx1"/>
                          </a:solidFill>
                          <a:latin typeface="Arial" panose="020B0604020202020204" pitchFamily="34" charset="0"/>
                          <a:cs typeface="Arial" panose="020B0604020202020204" pitchFamily="34" charset="0"/>
                        </a:rPr>
                        <a:t>Making hedging deals, mainly interest rate swaps (slide 34)</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60933714"/>
                  </a:ext>
                </a:extLst>
              </a:tr>
              <a:tr h="769940">
                <a:tc>
                  <a:txBody>
                    <a:bodyPr/>
                    <a:lstStyle/>
                    <a:p>
                      <a:r>
                        <a:rPr lang="en-GB" sz="2000" dirty="0">
                          <a:solidFill>
                            <a:schemeClr val="tx1"/>
                          </a:solidFill>
                          <a:latin typeface="Arial" panose="020B0604020202020204" pitchFamily="34" charset="0"/>
                          <a:cs typeface="Arial" panose="020B0604020202020204" pitchFamily="34" charset="0"/>
                        </a:rPr>
                        <a:t>4</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chemeClr val="tx1"/>
                          </a:solidFill>
                          <a:latin typeface="Arial" panose="020B0604020202020204" pitchFamily="34" charset="0"/>
                          <a:cs typeface="Arial" panose="020B0604020202020204" pitchFamily="34" charset="0"/>
                        </a:rPr>
                        <a:t>Fund transfer pricing</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GB" sz="2000" dirty="0">
                          <a:solidFill>
                            <a:schemeClr val="tx1"/>
                          </a:solidFill>
                          <a:latin typeface="Arial" panose="020B0604020202020204" pitchFamily="34" charset="0"/>
                          <a:cs typeface="Arial" panose="020B0604020202020204" pitchFamily="34" charset="0"/>
                        </a:rPr>
                        <a:t>Integration of market interest rate curve into structuring the deals both assets and liabilities (in details from 36 slide)</a:t>
                      </a:r>
                      <a:endParaRPr lang="en-NL" sz="20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93391593"/>
                  </a:ext>
                </a:extLst>
              </a:tr>
            </a:tbl>
          </a:graphicData>
        </a:graphic>
      </p:graphicFrame>
    </p:spTree>
    <p:extLst>
      <p:ext uri="{BB962C8B-B14F-4D97-AF65-F5344CB8AC3E}">
        <p14:creationId xmlns:p14="http://schemas.microsoft.com/office/powerpoint/2010/main" val="34291971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5</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rPr>
              <a:t>1. </a:t>
            </a:r>
            <a:r>
              <a:rPr lang="en-GB" sz="2500" b="1" kern="0" dirty="0">
                <a:solidFill>
                  <a:srgbClr val="1F4E79"/>
                </a:solidFill>
                <a:latin typeface="SB Sans Display" panose="020B0503040504020204" pitchFamily="34" charset="0"/>
                <a:ea typeface="等线" panose="02010600030101010101" pitchFamily="2" charset="-122"/>
              </a:rPr>
              <a:t>Steering of product structure</a:t>
            </a:r>
            <a:r>
              <a:rPr lang="en-US" sz="2500" b="1" kern="0" dirty="0">
                <a:solidFill>
                  <a:srgbClr val="1F4E79"/>
                </a:solidFill>
                <a:latin typeface="SB Sans Display" panose="020B0503040504020204" pitchFamily="34" charset="0"/>
                <a:ea typeface="等线" panose="02010600030101010101" pitchFamily="2" charset="-122"/>
              </a:rPr>
              <a:t> - </a:t>
            </a:r>
            <a:r>
              <a:rPr lang="en-US" sz="2500" b="1" kern="0" dirty="0" err="1">
                <a:solidFill>
                  <a:srgbClr val="1F4E79"/>
                </a:solidFill>
                <a:latin typeface="SB Sans Display" panose="020B0503040504020204" pitchFamily="34" charset="0"/>
                <a:ea typeface="等线" panose="02010600030101010101" pitchFamily="2" charset="-122"/>
              </a:rPr>
              <a:t>Optionalities</a:t>
            </a:r>
            <a:endParaRPr lang="en-US" sz="2500" b="1" kern="0" dirty="0">
              <a:solidFill>
                <a:srgbClr val="1F4E79"/>
              </a:solidFill>
              <a:latin typeface="SB Sans Display" panose="020B0503040504020204" pitchFamily="34" charset="0"/>
              <a:ea typeface="等线" panose="02010600030101010101" pitchFamily="2" charset="-122"/>
            </a:endParaRPr>
          </a:p>
        </p:txBody>
      </p:sp>
      <p:sp>
        <p:nvSpPr>
          <p:cNvPr id="7" name="TextBox 6">
            <a:extLst>
              <a:ext uri="{FF2B5EF4-FFF2-40B4-BE49-F238E27FC236}">
                <a16:creationId xmlns:a16="http://schemas.microsoft.com/office/drawing/2014/main" id="{123EC169-7644-486C-8036-F709D2DAEAF0}"/>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5.5</a:t>
            </a:r>
            <a:endParaRPr lang="ru-RU" sz="2500" b="1" dirty="0">
              <a:solidFill>
                <a:srgbClr val="FF0000"/>
              </a:solidFill>
            </a:endParaRPr>
          </a:p>
        </p:txBody>
      </p:sp>
      <p:sp>
        <p:nvSpPr>
          <p:cNvPr id="4" name="TextBox 3">
            <a:extLst>
              <a:ext uri="{FF2B5EF4-FFF2-40B4-BE49-F238E27FC236}">
                <a16:creationId xmlns:a16="http://schemas.microsoft.com/office/drawing/2014/main" id="{5B3042FF-B4B3-4086-A2CA-C21FEA2674C1}"/>
              </a:ext>
            </a:extLst>
          </p:cNvPr>
          <p:cNvSpPr txBox="1"/>
          <p:nvPr/>
        </p:nvSpPr>
        <p:spPr>
          <a:xfrm>
            <a:off x="585925" y="1118586"/>
            <a:ext cx="10138300" cy="3139321"/>
          </a:xfrm>
          <a:prstGeom prst="rect">
            <a:avLst/>
          </a:prstGeom>
          <a:noFill/>
        </p:spPr>
        <p:txBody>
          <a:bodyPr wrap="square" rtlCol="0">
            <a:spAutoFit/>
          </a:bodyPr>
          <a:lstStyle/>
          <a:p>
            <a:r>
              <a:rPr lang="en-US" dirty="0"/>
              <a:t>Any optionality in banking products should be recognized and influence the price of the products.</a:t>
            </a:r>
          </a:p>
          <a:p>
            <a:endParaRPr lang="en-US" dirty="0"/>
          </a:p>
          <a:p>
            <a:r>
              <a:rPr lang="en-US" dirty="0"/>
              <a:t>Examples of </a:t>
            </a:r>
            <a:r>
              <a:rPr lang="en-US" dirty="0" err="1"/>
              <a:t>optionalities</a:t>
            </a:r>
            <a:r>
              <a:rPr lang="en-US" dirty="0"/>
              <a:t>:</a:t>
            </a:r>
          </a:p>
          <a:p>
            <a:pPr marL="285750" indent="-285750">
              <a:buFont typeface="Arial" panose="020B0604020202020204" pitchFamily="34" charset="0"/>
              <a:buChar char="•"/>
            </a:pPr>
            <a:r>
              <a:rPr lang="en-US" dirty="0"/>
              <a:t>Right to repay the loan ahead of schedule,</a:t>
            </a:r>
          </a:p>
          <a:p>
            <a:pPr marL="285750" indent="-285750">
              <a:buFont typeface="Arial" panose="020B0604020202020204" pitchFamily="34" charset="0"/>
              <a:buChar char="•"/>
            </a:pPr>
            <a:r>
              <a:rPr lang="en-US" dirty="0"/>
              <a:t>The committed but not utilized credit line with a fixed rate,</a:t>
            </a:r>
          </a:p>
          <a:p>
            <a:pPr marL="285750" indent="-285750">
              <a:buFont typeface="Arial" panose="020B0604020202020204" pitchFamily="34" charset="0"/>
              <a:buChar char="•"/>
            </a:pPr>
            <a:r>
              <a:rPr lang="en-US" dirty="0"/>
              <a:t>Right to withdraw the deposit,</a:t>
            </a:r>
          </a:p>
          <a:p>
            <a:pPr marL="285750" indent="-285750">
              <a:buFont typeface="Arial" panose="020B0604020202020204" pitchFamily="34" charset="0"/>
              <a:buChar char="•"/>
            </a:pPr>
            <a:r>
              <a:rPr lang="en-US" dirty="0"/>
              <a:t>Right to replenish the deposit,</a:t>
            </a:r>
          </a:p>
          <a:p>
            <a:pPr marL="285750" indent="-285750">
              <a:buFont typeface="Arial" panose="020B0604020202020204" pitchFamily="34" charset="0"/>
              <a:buChar char="•"/>
            </a:pPr>
            <a:r>
              <a:rPr lang="en-US" dirty="0"/>
              <a:t>Floating rate with cap or floor,</a:t>
            </a:r>
          </a:p>
          <a:p>
            <a:pPr marL="285750" indent="-285750">
              <a:buFont typeface="Arial" panose="020B0604020202020204" pitchFamily="34" charset="0"/>
              <a:buChar char="•"/>
            </a:pPr>
            <a:r>
              <a:rPr lang="en-US" dirty="0"/>
              <a:t>Opportunity to convert in another FX or repay in another FX on fixed rate</a:t>
            </a:r>
          </a:p>
          <a:p>
            <a:pPr marL="285750" indent="-285750">
              <a:buFontTx/>
              <a:buChar char="-"/>
            </a:pPr>
            <a:endParaRPr lang="en-US" dirty="0"/>
          </a:p>
          <a:p>
            <a:r>
              <a:rPr lang="en-US" dirty="0"/>
              <a:t>For the details of calc, please see an illustrative example 5.5</a:t>
            </a:r>
            <a:endParaRPr lang="en-NL" dirty="0"/>
          </a:p>
        </p:txBody>
      </p:sp>
    </p:spTree>
    <p:extLst>
      <p:ext uri="{BB962C8B-B14F-4D97-AF65-F5344CB8AC3E}">
        <p14:creationId xmlns:p14="http://schemas.microsoft.com/office/powerpoint/2010/main" val="16087940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6</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3. Hedging</a:t>
            </a:r>
          </a:p>
        </p:txBody>
      </p:sp>
      <p:graphicFrame>
        <p:nvGraphicFramePr>
          <p:cNvPr id="6" name="Chart 5">
            <a:extLst>
              <a:ext uri="{FF2B5EF4-FFF2-40B4-BE49-F238E27FC236}">
                <a16:creationId xmlns:a16="http://schemas.microsoft.com/office/drawing/2014/main" id="{D9A72080-4A4A-266D-A135-ECD5E1BFB692}"/>
              </a:ext>
            </a:extLst>
          </p:cNvPr>
          <p:cNvGraphicFramePr>
            <a:graphicFrameLocks/>
          </p:cNvGraphicFramePr>
          <p:nvPr>
            <p:extLst>
              <p:ext uri="{D42A27DB-BD31-4B8C-83A1-F6EECF244321}">
                <p14:modId xmlns:p14="http://schemas.microsoft.com/office/powerpoint/2010/main" val="1523185344"/>
              </p:ext>
            </p:extLst>
          </p:nvPr>
        </p:nvGraphicFramePr>
        <p:xfrm>
          <a:off x="446103" y="1511368"/>
          <a:ext cx="5217850" cy="282321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682B65D6-B803-4460-99AF-B677554DD998}"/>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5.5</a:t>
            </a:r>
            <a:endParaRPr lang="ru-RU" sz="2500" b="1" dirty="0">
              <a:solidFill>
                <a:srgbClr val="FF0000"/>
              </a:solidFill>
            </a:endParaRPr>
          </a:p>
        </p:txBody>
      </p:sp>
      <p:sp>
        <p:nvSpPr>
          <p:cNvPr id="9" name="TextBox 8">
            <a:extLst>
              <a:ext uri="{FF2B5EF4-FFF2-40B4-BE49-F238E27FC236}">
                <a16:creationId xmlns:a16="http://schemas.microsoft.com/office/drawing/2014/main" id="{CD23FEE6-2745-44DB-94A1-F55B9A5050DE}"/>
              </a:ext>
            </a:extLst>
          </p:cNvPr>
          <p:cNvSpPr txBox="1"/>
          <p:nvPr/>
        </p:nvSpPr>
        <p:spPr>
          <a:xfrm>
            <a:off x="5950334" y="1003126"/>
            <a:ext cx="6094520" cy="861774"/>
          </a:xfrm>
          <a:prstGeom prst="rect">
            <a:avLst/>
          </a:prstGeom>
          <a:noFill/>
        </p:spPr>
        <p:txBody>
          <a:bodyPr wrap="square">
            <a:spAutoFit/>
          </a:bodyPr>
          <a:lstStyle/>
          <a:p>
            <a:r>
              <a:rPr lang="en-US" b="1" dirty="0">
                <a:latin typeface="Arial" panose="020B0604020202020204" pitchFamily="34" charset="0"/>
                <a:cs typeface="Arial" panose="020B0604020202020204" pitchFamily="34" charset="0"/>
              </a:rPr>
              <a:t>Hedged position</a:t>
            </a:r>
          </a:p>
          <a:p>
            <a:r>
              <a:rPr lang="en-US" sz="1400" i="0" u="none" strike="noStrike" dirty="0">
                <a:solidFill>
                  <a:srgbClr val="000000"/>
                </a:solidFill>
                <a:effectLst/>
                <a:latin typeface="Arial" panose="020B0604020202020204" pitchFamily="34" charset="0"/>
              </a:rPr>
              <a:t>Sensitivity to 1p.p. up = 1.8</a:t>
            </a:r>
            <a:r>
              <a:rPr lang="en-US" sz="1400" dirty="0"/>
              <a:t> </a:t>
            </a:r>
            <a:endParaRPr lang="en-NL" sz="1400" dirty="0"/>
          </a:p>
          <a:p>
            <a:endParaRPr lang="en-NL" dirty="0"/>
          </a:p>
        </p:txBody>
      </p:sp>
      <p:sp>
        <p:nvSpPr>
          <p:cNvPr id="12" name="TextBox 11">
            <a:extLst>
              <a:ext uri="{FF2B5EF4-FFF2-40B4-BE49-F238E27FC236}">
                <a16:creationId xmlns:a16="http://schemas.microsoft.com/office/drawing/2014/main" id="{A833CA0B-9813-40A3-9F29-B963474ED863}"/>
              </a:ext>
            </a:extLst>
          </p:cNvPr>
          <p:cNvSpPr txBox="1"/>
          <p:nvPr/>
        </p:nvSpPr>
        <p:spPr>
          <a:xfrm>
            <a:off x="6625037" y="1263386"/>
            <a:ext cx="2900703" cy="369332"/>
          </a:xfrm>
          <a:prstGeom prst="rect">
            <a:avLst/>
          </a:prstGeom>
          <a:noFill/>
        </p:spPr>
        <p:txBody>
          <a:bodyPr wrap="square">
            <a:spAutoFit/>
          </a:bodyPr>
          <a:lstStyle/>
          <a:p>
            <a:pPr algn="l" fontAlgn="b"/>
            <a:endParaRPr lang="nl-NL" sz="1800" b="0" i="0" u="none" strike="noStrike" dirty="0">
              <a:solidFill>
                <a:srgbClr val="000000"/>
              </a:solidFill>
              <a:effectLst/>
              <a:latin typeface="Arial" panose="020B0604020202020204" pitchFamily="34" charset="0"/>
            </a:endParaRPr>
          </a:p>
        </p:txBody>
      </p:sp>
      <p:sp>
        <p:nvSpPr>
          <p:cNvPr id="13" name="TextBox 12">
            <a:extLst>
              <a:ext uri="{FF2B5EF4-FFF2-40B4-BE49-F238E27FC236}">
                <a16:creationId xmlns:a16="http://schemas.microsoft.com/office/drawing/2014/main" id="{C59E1761-1832-4C8A-AEEC-6EBF698037A1}"/>
              </a:ext>
            </a:extLst>
          </p:cNvPr>
          <p:cNvSpPr txBox="1"/>
          <p:nvPr/>
        </p:nvSpPr>
        <p:spPr>
          <a:xfrm>
            <a:off x="3890236" y="4460460"/>
            <a:ext cx="3050217" cy="2031325"/>
          </a:xfrm>
          <a:prstGeom prst="rect">
            <a:avLst/>
          </a:prstGeom>
          <a:noFill/>
          <a:ln>
            <a:solidFill>
              <a:srgbClr val="0070C0"/>
            </a:solidFill>
          </a:ln>
        </p:spPr>
        <p:txBody>
          <a:bodyPr wrap="square">
            <a:spAutoFit/>
          </a:bodyPr>
          <a:lstStyle/>
          <a:p>
            <a:r>
              <a:rPr lang="en-US" b="1" dirty="0">
                <a:latin typeface="Arial" panose="020B0604020202020204" pitchFamily="34" charset="0"/>
                <a:cs typeface="Arial" panose="020B0604020202020204" pitchFamily="34" charset="0"/>
              </a:rPr>
              <a:t>Hedging instrument:</a:t>
            </a:r>
          </a:p>
          <a:p>
            <a:endParaRPr lang="en-US" b="1" dirty="0">
              <a:latin typeface="Arial" panose="020B0604020202020204" pitchFamily="34" charset="0"/>
              <a:cs typeface="Arial" panose="020B0604020202020204" pitchFamily="34" charset="0"/>
            </a:endParaRPr>
          </a:p>
          <a:p>
            <a:pPr algn="l" fontAlgn="b"/>
            <a:r>
              <a:rPr lang="nl-NL" sz="1800" u="none" strike="noStrike" dirty="0">
                <a:effectLst/>
              </a:rPr>
              <a:t>Interest </a:t>
            </a:r>
            <a:r>
              <a:rPr lang="nl-NL" sz="1800" u="none" strike="noStrike" dirty="0" err="1">
                <a:effectLst/>
              </a:rPr>
              <a:t>rate</a:t>
            </a:r>
            <a:r>
              <a:rPr lang="nl-NL" sz="1800" u="none" strike="noStrike" dirty="0">
                <a:effectLst/>
              </a:rPr>
              <a:t> swap;</a:t>
            </a:r>
          </a:p>
          <a:p>
            <a:pPr algn="l" fontAlgn="b"/>
            <a:r>
              <a:rPr lang="nl-NL" dirty="0" err="1"/>
              <a:t>C</a:t>
            </a:r>
            <a:r>
              <a:rPr lang="nl-NL" sz="1800" u="none" strike="noStrike" dirty="0" err="1">
                <a:effectLst/>
              </a:rPr>
              <a:t>ontractual</a:t>
            </a:r>
            <a:r>
              <a:rPr lang="nl-NL" sz="1800" u="none" strike="noStrike" dirty="0">
                <a:effectLst/>
              </a:rPr>
              <a:t> term 5 </a:t>
            </a:r>
            <a:r>
              <a:rPr lang="nl-NL" sz="1800" u="none" strike="noStrike" dirty="0" err="1">
                <a:effectLst/>
              </a:rPr>
              <a:t>years</a:t>
            </a:r>
            <a:r>
              <a:rPr lang="nl-NL" dirty="0">
                <a:solidFill>
                  <a:srgbClr val="000000"/>
                </a:solidFill>
                <a:latin typeface="Arial" panose="020B0604020202020204" pitchFamily="34" charset="0"/>
              </a:rPr>
              <a:t>; </a:t>
            </a:r>
          </a:p>
          <a:p>
            <a:pPr algn="l" fontAlgn="b"/>
            <a:r>
              <a:rPr lang="nl-NL" sz="1800" u="none" strike="noStrike" dirty="0" err="1">
                <a:effectLst/>
              </a:rPr>
              <a:t>Notional</a:t>
            </a:r>
            <a:r>
              <a:rPr lang="nl-NL" sz="1800" u="none" strike="noStrike" dirty="0">
                <a:effectLst/>
              </a:rPr>
              <a:t> </a:t>
            </a:r>
            <a:r>
              <a:rPr lang="nl-NL" sz="1800" u="none" strike="noStrike" dirty="0" err="1">
                <a:effectLst/>
              </a:rPr>
              <a:t>amount</a:t>
            </a:r>
            <a:r>
              <a:rPr lang="nl-NL" sz="1800" u="none" strike="noStrike" dirty="0">
                <a:effectLst/>
              </a:rPr>
              <a:t> - 4 000</a:t>
            </a:r>
            <a:endParaRPr lang="nl-NL" sz="1800" b="0" i="0" u="none" strike="noStrike" dirty="0">
              <a:solidFill>
                <a:srgbClr val="000000"/>
              </a:solidFill>
              <a:effectLst/>
              <a:latin typeface="Arial" panose="020B0604020202020204" pitchFamily="34" charset="0"/>
            </a:endParaRPr>
          </a:p>
          <a:p>
            <a:pPr marL="0" marR="0" lvl="0" indent="0" algn="l" defTabSz="914400" rtl="0" eaLnBrk="1" fontAlgn="b" latinLnBrk="0" hangingPunct="1">
              <a:lnSpc>
                <a:spcPct val="100000"/>
              </a:lnSpc>
              <a:spcBef>
                <a:spcPts val="0"/>
              </a:spcBef>
              <a:spcAft>
                <a:spcPts val="0"/>
              </a:spcAft>
              <a:buClrTx/>
              <a:buSzTx/>
              <a:buFontTx/>
              <a:buNone/>
              <a:tabLst/>
              <a:defRPr/>
            </a:pPr>
            <a:r>
              <a:rPr lang="nl-NL" sz="1800" u="none" strike="noStrike" dirty="0" err="1">
                <a:effectLst/>
              </a:rPr>
              <a:t>Receive</a:t>
            </a:r>
            <a:r>
              <a:rPr lang="nl-NL" sz="1800" u="none" strike="noStrike" dirty="0">
                <a:effectLst/>
              </a:rPr>
              <a:t> </a:t>
            </a:r>
            <a:r>
              <a:rPr lang="nl-NL" sz="1800" u="none" strike="noStrike" dirty="0" err="1">
                <a:effectLst/>
              </a:rPr>
              <a:t>rate</a:t>
            </a:r>
            <a:r>
              <a:rPr lang="nl-NL" sz="1800" u="none" strike="noStrike" dirty="0">
                <a:effectLst/>
              </a:rPr>
              <a:t> - </a:t>
            </a:r>
            <a:r>
              <a:rPr lang="nl-NL" sz="1800" u="none" strike="noStrike" dirty="0" err="1">
                <a:effectLst/>
              </a:rPr>
              <a:t>Mosprime</a:t>
            </a:r>
            <a:r>
              <a:rPr lang="nl-NL" sz="1800" u="none" strike="noStrike" dirty="0">
                <a:effectLst/>
              </a:rPr>
              <a:t> 3m; </a:t>
            </a:r>
          </a:p>
          <a:p>
            <a:pPr marL="0" marR="0" lvl="0" indent="0" algn="l" defTabSz="914400" rtl="0" eaLnBrk="1" fontAlgn="b" latinLnBrk="0" hangingPunct="1">
              <a:lnSpc>
                <a:spcPct val="100000"/>
              </a:lnSpc>
              <a:spcBef>
                <a:spcPts val="0"/>
              </a:spcBef>
              <a:spcAft>
                <a:spcPts val="0"/>
              </a:spcAft>
              <a:buClrTx/>
              <a:buSzTx/>
              <a:buFontTx/>
              <a:buNone/>
              <a:tabLst/>
              <a:defRPr/>
            </a:pPr>
            <a:r>
              <a:rPr lang="nl-NL" sz="1800" u="none" strike="noStrike" dirty="0" err="1">
                <a:effectLst/>
              </a:rPr>
              <a:t>Pay</a:t>
            </a:r>
            <a:r>
              <a:rPr lang="nl-NL" sz="1800" u="none" strike="noStrike" dirty="0">
                <a:effectLst/>
              </a:rPr>
              <a:t> </a:t>
            </a:r>
            <a:r>
              <a:rPr lang="nl-NL" sz="1800" u="none" strike="noStrike" dirty="0" err="1">
                <a:effectLst/>
              </a:rPr>
              <a:t>rate</a:t>
            </a:r>
            <a:r>
              <a:rPr lang="nl-NL" sz="1800" u="none" strike="noStrike" dirty="0">
                <a:effectLst/>
              </a:rPr>
              <a:t> - </a:t>
            </a:r>
            <a:r>
              <a:rPr lang="nl-NL" sz="1800" u="none" strike="noStrike" dirty="0" err="1">
                <a:effectLst/>
              </a:rPr>
              <a:t>fixed</a:t>
            </a:r>
            <a:r>
              <a:rPr lang="nl-NL" sz="1800" u="none" strike="noStrike" dirty="0">
                <a:effectLst/>
              </a:rPr>
              <a:t> </a:t>
            </a:r>
            <a:r>
              <a:rPr lang="nl-NL" sz="1800" u="none" strike="noStrike" dirty="0" err="1">
                <a:effectLst/>
              </a:rPr>
              <a:t>rate</a:t>
            </a:r>
            <a:endParaRPr lang="nl-NL" sz="1800" b="0" i="0" u="none" strike="noStrike" dirty="0">
              <a:solidFill>
                <a:srgbClr val="000000"/>
              </a:solidFill>
              <a:effectLst/>
              <a:latin typeface="Arial" panose="020B0604020202020204" pitchFamily="34" charset="0"/>
            </a:endParaRPr>
          </a:p>
        </p:txBody>
      </p:sp>
      <p:sp>
        <p:nvSpPr>
          <p:cNvPr id="14" name="Arrow: Right 13">
            <a:extLst>
              <a:ext uri="{FF2B5EF4-FFF2-40B4-BE49-F238E27FC236}">
                <a16:creationId xmlns:a16="http://schemas.microsoft.com/office/drawing/2014/main" id="{C7E652B8-53DD-44D4-A5D5-4417DA75FDF5}"/>
              </a:ext>
            </a:extLst>
          </p:cNvPr>
          <p:cNvSpPr/>
          <p:nvPr/>
        </p:nvSpPr>
        <p:spPr>
          <a:xfrm rot="2218930">
            <a:off x="2145557" y="4876953"/>
            <a:ext cx="1366490" cy="20919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5" name="TextBox 14">
            <a:extLst>
              <a:ext uri="{FF2B5EF4-FFF2-40B4-BE49-F238E27FC236}">
                <a16:creationId xmlns:a16="http://schemas.microsoft.com/office/drawing/2014/main" id="{BF8120B5-F542-4E72-B133-D0DAA8717013}"/>
              </a:ext>
            </a:extLst>
          </p:cNvPr>
          <p:cNvSpPr txBox="1"/>
          <p:nvPr/>
        </p:nvSpPr>
        <p:spPr>
          <a:xfrm>
            <a:off x="525007" y="1003555"/>
            <a:ext cx="6094520" cy="584775"/>
          </a:xfrm>
          <a:prstGeom prst="rect">
            <a:avLst/>
          </a:prstGeom>
          <a:noFill/>
        </p:spPr>
        <p:txBody>
          <a:bodyPr wrap="square">
            <a:spAutoFit/>
          </a:bodyPr>
          <a:lstStyle/>
          <a:p>
            <a:r>
              <a:rPr lang="en-US" b="1" dirty="0">
                <a:latin typeface="Arial" panose="020B0604020202020204" pitchFamily="34" charset="0"/>
                <a:cs typeface="Arial" panose="020B0604020202020204" pitchFamily="34" charset="0"/>
              </a:rPr>
              <a:t>Original position</a:t>
            </a:r>
          </a:p>
          <a:p>
            <a:r>
              <a:rPr lang="en-US" sz="1400" i="0" u="none" strike="noStrike" dirty="0">
                <a:solidFill>
                  <a:srgbClr val="000000"/>
                </a:solidFill>
                <a:effectLst/>
                <a:latin typeface="Arial" panose="020B0604020202020204" pitchFamily="34" charset="0"/>
              </a:rPr>
              <a:t>Sensitivity to 1p.p. up = -31.6</a:t>
            </a:r>
            <a:r>
              <a:rPr lang="en-US" sz="1400" dirty="0"/>
              <a:t> </a:t>
            </a:r>
            <a:endParaRPr lang="en-NL" sz="1400" dirty="0"/>
          </a:p>
        </p:txBody>
      </p:sp>
      <p:sp>
        <p:nvSpPr>
          <p:cNvPr id="18" name="Arrow: Right 17">
            <a:extLst>
              <a:ext uri="{FF2B5EF4-FFF2-40B4-BE49-F238E27FC236}">
                <a16:creationId xmlns:a16="http://schemas.microsoft.com/office/drawing/2014/main" id="{B8EC990D-37EF-4A1F-ACC2-10B1FA1A531F}"/>
              </a:ext>
            </a:extLst>
          </p:cNvPr>
          <p:cNvSpPr/>
          <p:nvPr/>
        </p:nvSpPr>
        <p:spPr>
          <a:xfrm rot="19648154">
            <a:off x="7205209" y="4903615"/>
            <a:ext cx="1604967" cy="22402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graphicFrame>
        <p:nvGraphicFramePr>
          <p:cNvPr id="19" name="Chart 18">
            <a:extLst>
              <a:ext uri="{FF2B5EF4-FFF2-40B4-BE49-F238E27FC236}">
                <a16:creationId xmlns:a16="http://schemas.microsoft.com/office/drawing/2014/main" id="{AA77DF82-B2FB-4D0B-8779-BCEA943C88B2}"/>
              </a:ext>
            </a:extLst>
          </p:cNvPr>
          <p:cNvGraphicFramePr>
            <a:graphicFrameLocks/>
          </p:cNvGraphicFramePr>
          <p:nvPr>
            <p:extLst>
              <p:ext uri="{D42A27DB-BD31-4B8C-83A1-F6EECF244321}">
                <p14:modId xmlns:p14="http://schemas.microsoft.com/office/powerpoint/2010/main" val="664126113"/>
              </p:ext>
            </p:extLst>
          </p:nvPr>
        </p:nvGraphicFramePr>
        <p:xfrm>
          <a:off x="5882479" y="1524300"/>
          <a:ext cx="5737860" cy="282321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446872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5.3 Fund transfer pricing</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37</a:t>
            </a:fld>
            <a:endParaRPr lang="en-US" dirty="0"/>
          </a:p>
        </p:txBody>
      </p:sp>
      <p:sp>
        <p:nvSpPr>
          <p:cNvPr id="7" name="Заголовок 1"/>
          <p:cNvSpPr txBox="1">
            <a:spLocks/>
          </p:cNvSpPr>
          <p:nvPr/>
        </p:nvSpPr>
        <p:spPr>
          <a:xfrm>
            <a:off x="672305" y="2018599"/>
            <a:ext cx="9144000" cy="188838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GB" sz="3000" dirty="0">
                <a:latin typeface="Arial" panose="020B0604020202020204" pitchFamily="34" charset="0"/>
                <a:cs typeface="Arial" panose="020B0604020202020204" pitchFamily="34" charset="0"/>
              </a:rPr>
              <a:t>FTP curve</a:t>
            </a:r>
          </a:p>
          <a:p>
            <a:pPr marL="457200" indent="-457200" algn="l">
              <a:buFont typeface="Arial" panose="020B0604020202020204" pitchFamily="34" charset="0"/>
              <a:buChar char="•"/>
            </a:pPr>
            <a:r>
              <a:rPr lang="en-GB" sz="3000" dirty="0">
                <a:latin typeface="Arial" panose="020B0604020202020204" pitchFamily="34" charset="0"/>
                <a:cs typeface="Arial" panose="020B0604020202020204" pitchFamily="34" charset="0"/>
              </a:rPr>
              <a:t>NII decomposition</a:t>
            </a:r>
          </a:p>
          <a:p>
            <a:pPr marL="457200" indent="-457200" algn="l">
              <a:buFont typeface="Arial" panose="020B0604020202020204" pitchFamily="34" charset="0"/>
              <a:buChar char="•"/>
            </a:pPr>
            <a:endParaRPr lang="en-GB" sz="3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73935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38</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nl-NL" sz="2500" b="1" kern="0" dirty="0">
                <a:solidFill>
                  <a:srgbClr val="1F4E79"/>
                </a:solidFill>
                <a:latin typeface="SB Sans Display" panose="020B0503040504020204" pitchFamily="34" charset="0"/>
                <a:ea typeface="等线" panose="02010600030101010101" pitchFamily="2" charset="-122"/>
              </a:rPr>
              <a:t>Research </a:t>
            </a:r>
            <a:r>
              <a:rPr lang="nl-NL" sz="2500" b="1" kern="0" dirty="0" err="1">
                <a:solidFill>
                  <a:srgbClr val="1F4E79"/>
                </a:solidFill>
                <a:latin typeface="SB Sans Display" panose="020B0503040504020204" pitchFamily="34" charset="0"/>
                <a:ea typeface="等线" panose="02010600030101010101" pitchFamily="2" charset="-122"/>
              </a:rPr>
              <a:t>questions</a:t>
            </a:r>
            <a:endParaRPr lang="en-US" sz="2500" b="1" kern="0" dirty="0">
              <a:solidFill>
                <a:srgbClr val="1F4E79"/>
              </a:solidFill>
              <a:latin typeface="SB Sans Display" panose="020B0503040504020204" pitchFamily="34" charset="0"/>
              <a:ea typeface="等线" panose="02010600030101010101" pitchFamily="2" charset="-122"/>
            </a:endParaRPr>
          </a:p>
        </p:txBody>
      </p:sp>
      <p:cxnSp>
        <p:nvCxnSpPr>
          <p:cNvPr id="17" name="Straight Arrow Connector 16">
            <a:extLst>
              <a:ext uri="{FF2B5EF4-FFF2-40B4-BE49-F238E27FC236}">
                <a16:creationId xmlns:a16="http://schemas.microsoft.com/office/drawing/2014/main" id="{20DFEBAE-BC9B-4B59-833D-C4FD382B19EE}"/>
              </a:ext>
            </a:extLst>
          </p:cNvPr>
          <p:cNvCxnSpPr>
            <a:cxnSpLocks/>
          </p:cNvCxnSpPr>
          <p:nvPr/>
        </p:nvCxnSpPr>
        <p:spPr>
          <a:xfrm>
            <a:off x="1771335" y="2538591"/>
            <a:ext cx="0" cy="2444711"/>
          </a:xfrm>
          <a:prstGeom prst="straightConnector1">
            <a:avLst/>
          </a:prstGeom>
          <a:ln w="3810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A1672C4-2CB1-4557-ACFE-942418292B7F}"/>
              </a:ext>
            </a:extLst>
          </p:cNvPr>
          <p:cNvSpPr txBox="1"/>
          <p:nvPr/>
        </p:nvSpPr>
        <p:spPr>
          <a:xfrm>
            <a:off x="381958" y="897514"/>
            <a:ext cx="6324597" cy="769441"/>
          </a:xfrm>
          <a:prstGeom prst="rect">
            <a:avLst/>
          </a:prstGeom>
          <a:noFill/>
        </p:spPr>
        <p:txBody>
          <a:bodyPr wrap="square" rtlCol="0">
            <a:spAutoFit/>
          </a:bodyPr>
          <a:lstStyle/>
          <a:p>
            <a:pPr marL="514350" indent="-514350">
              <a:buAutoNum type="romanUcPeriod"/>
            </a:pPr>
            <a:r>
              <a:rPr lang="en-US" sz="2200" dirty="0"/>
              <a:t>Who will receive a bonus?</a:t>
            </a:r>
          </a:p>
          <a:p>
            <a:pPr marL="514350" indent="-514350">
              <a:buAutoNum type="romanUcPeriod"/>
            </a:pPr>
            <a:r>
              <a:rPr lang="en-US" sz="2200" dirty="0"/>
              <a:t>Did we price our products adequately?</a:t>
            </a:r>
            <a:endParaRPr lang="en-NL" sz="2200" dirty="0"/>
          </a:p>
        </p:txBody>
      </p:sp>
      <p:sp>
        <p:nvSpPr>
          <p:cNvPr id="3" name="TextBox 2">
            <a:extLst>
              <a:ext uri="{FF2B5EF4-FFF2-40B4-BE49-F238E27FC236}">
                <a16:creationId xmlns:a16="http://schemas.microsoft.com/office/drawing/2014/main" id="{3BE7636F-1243-4E0B-8D51-F122D728B419}"/>
              </a:ext>
            </a:extLst>
          </p:cNvPr>
          <p:cNvSpPr txBox="1"/>
          <p:nvPr/>
        </p:nvSpPr>
        <p:spPr>
          <a:xfrm>
            <a:off x="1228598" y="1892260"/>
            <a:ext cx="1855432" cy="646331"/>
          </a:xfrm>
          <a:prstGeom prst="rect">
            <a:avLst/>
          </a:prstGeom>
          <a:noFill/>
        </p:spPr>
        <p:txBody>
          <a:bodyPr wrap="square" rtlCol="0">
            <a:spAutoFit/>
          </a:bodyPr>
          <a:lstStyle/>
          <a:p>
            <a:r>
              <a:rPr lang="en-US" dirty="0">
                <a:solidFill>
                  <a:srgbClr val="00B050"/>
                </a:solidFill>
              </a:rPr>
              <a:t>Loan 1Y </a:t>
            </a:r>
          </a:p>
          <a:p>
            <a:r>
              <a:rPr lang="en-US" dirty="0">
                <a:solidFill>
                  <a:srgbClr val="00B050"/>
                </a:solidFill>
              </a:rPr>
              <a:t>9% int rate</a:t>
            </a:r>
            <a:endParaRPr lang="en-NL" dirty="0">
              <a:solidFill>
                <a:srgbClr val="00B050"/>
              </a:solidFill>
            </a:endParaRPr>
          </a:p>
        </p:txBody>
      </p:sp>
      <p:sp>
        <p:nvSpPr>
          <p:cNvPr id="27" name="TextBox 26">
            <a:extLst>
              <a:ext uri="{FF2B5EF4-FFF2-40B4-BE49-F238E27FC236}">
                <a16:creationId xmlns:a16="http://schemas.microsoft.com/office/drawing/2014/main" id="{A5CBA71D-9F97-491B-B724-48626DE4DA3B}"/>
              </a:ext>
            </a:extLst>
          </p:cNvPr>
          <p:cNvSpPr txBox="1"/>
          <p:nvPr/>
        </p:nvSpPr>
        <p:spPr>
          <a:xfrm>
            <a:off x="1132424" y="4983302"/>
            <a:ext cx="1855432" cy="646331"/>
          </a:xfrm>
          <a:prstGeom prst="rect">
            <a:avLst/>
          </a:prstGeom>
          <a:noFill/>
        </p:spPr>
        <p:txBody>
          <a:bodyPr wrap="square" rtlCol="0">
            <a:spAutoFit/>
          </a:bodyPr>
          <a:lstStyle/>
          <a:p>
            <a:r>
              <a:rPr lang="en-US" dirty="0">
                <a:solidFill>
                  <a:srgbClr val="ED7D31"/>
                </a:solidFill>
              </a:rPr>
              <a:t>Deposit 1m </a:t>
            </a:r>
          </a:p>
          <a:p>
            <a:r>
              <a:rPr lang="en-US" dirty="0">
                <a:solidFill>
                  <a:srgbClr val="ED7D31"/>
                </a:solidFill>
              </a:rPr>
              <a:t>3% int rate</a:t>
            </a:r>
            <a:endParaRPr lang="en-NL" dirty="0">
              <a:solidFill>
                <a:srgbClr val="ED7D31"/>
              </a:solidFill>
            </a:endParaRPr>
          </a:p>
        </p:txBody>
      </p:sp>
      <p:sp>
        <p:nvSpPr>
          <p:cNvPr id="28" name="TextBox 27">
            <a:extLst>
              <a:ext uri="{FF2B5EF4-FFF2-40B4-BE49-F238E27FC236}">
                <a16:creationId xmlns:a16="http://schemas.microsoft.com/office/drawing/2014/main" id="{1100877E-E3A1-4275-8BC4-BC80CF55428B}"/>
              </a:ext>
            </a:extLst>
          </p:cNvPr>
          <p:cNvSpPr txBox="1"/>
          <p:nvPr/>
        </p:nvSpPr>
        <p:spPr>
          <a:xfrm>
            <a:off x="1897384" y="3348394"/>
            <a:ext cx="1426345" cy="646331"/>
          </a:xfrm>
          <a:prstGeom prst="rect">
            <a:avLst/>
          </a:prstGeom>
          <a:noFill/>
        </p:spPr>
        <p:txBody>
          <a:bodyPr wrap="square" rtlCol="0">
            <a:spAutoFit/>
          </a:bodyPr>
          <a:lstStyle/>
          <a:p>
            <a:r>
              <a:rPr lang="en-US" dirty="0">
                <a:solidFill>
                  <a:srgbClr val="7F7F7F"/>
                </a:solidFill>
              </a:rPr>
              <a:t>Interest margin +6%</a:t>
            </a:r>
            <a:endParaRPr lang="en-NL" dirty="0">
              <a:solidFill>
                <a:srgbClr val="7F7F7F"/>
              </a:solidFill>
            </a:endParaRPr>
          </a:p>
        </p:txBody>
      </p:sp>
      <p:cxnSp>
        <p:nvCxnSpPr>
          <p:cNvPr id="29" name="Straight Arrow Connector 28">
            <a:extLst>
              <a:ext uri="{FF2B5EF4-FFF2-40B4-BE49-F238E27FC236}">
                <a16:creationId xmlns:a16="http://schemas.microsoft.com/office/drawing/2014/main" id="{E058FA45-4AA2-486C-B4A2-48DB749EC2FC}"/>
              </a:ext>
            </a:extLst>
          </p:cNvPr>
          <p:cNvCxnSpPr>
            <a:cxnSpLocks/>
          </p:cNvCxnSpPr>
          <p:nvPr/>
        </p:nvCxnSpPr>
        <p:spPr>
          <a:xfrm>
            <a:off x="8642649" y="2538591"/>
            <a:ext cx="0" cy="2444711"/>
          </a:xfrm>
          <a:prstGeom prst="straightConnector1">
            <a:avLst/>
          </a:prstGeom>
          <a:ln w="38100">
            <a:solidFill>
              <a:srgbClr val="FF0E0E"/>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1C945C46-2903-442B-AFE6-3BDCA1A34F65}"/>
              </a:ext>
            </a:extLst>
          </p:cNvPr>
          <p:cNvSpPr txBox="1"/>
          <p:nvPr/>
        </p:nvSpPr>
        <p:spPr>
          <a:xfrm>
            <a:off x="7753903" y="1121067"/>
            <a:ext cx="3870445" cy="430887"/>
          </a:xfrm>
          <a:prstGeom prst="rect">
            <a:avLst/>
          </a:prstGeom>
          <a:noFill/>
        </p:spPr>
        <p:txBody>
          <a:bodyPr wrap="square" rtlCol="0">
            <a:spAutoFit/>
          </a:bodyPr>
          <a:lstStyle/>
          <a:p>
            <a:r>
              <a:rPr lang="en-US" sz="2200" dirty="0"/>
              <a:t>I./II. And now?</a:t>
            </a:r>
            <a:endParaRPr lang="en-NL" sz="2200" dirty="0"/>
          </a:p>
        </p:txBody>
      </p:sp>
      <p:sp>
        <p:nvSpPr>
          <p:cNvPr id="31" name="TextBox 30">
            <a:extLst>
              <a:ext uri="{FF2B5EF4-FFF2-40B4-BE49-F238E27FC236}">
                <a16:creationId xmlns:a16="http://schemas.microsoft.com/office/drawing/2014/main" id="{17D27AF9-8AE3-462C-849B-F22D1AF57A3C}"/>
              </a:ext>
            </a:extLst>
          </p:cNvPr>
          <p:cNvSpPr txBox="1"/>
          <p:nvPr/>
        </p:nvSpPr>
        <p:spPr>
          <a:xfrm>
            <a:off x="8099912" y="1892260"/>
            <a:ext cx="1855432" cy="646331"/>
          </a:xfrm>
          <a:prstGeom prst="rect">
            <a:avLst/>
          </a:prstGeom>
          <a:noFill/>
        </p:spPr>
        <p:txBody>
          <a:bodyPr wrap="square" rtlCol="0">
            <a:spAutoFit/>
          </a:bodyPr>
          <a:lstStyle/>
          <a:p>
            <a:r>
              <a:rPr lang="en-US" dirty="0">
                <a:solidFill>
                  <a:srgbClr val="ED7D31"/>
                </a:solidFill>
              </a:rPr>
              <a:t>Deposit 1m </a:t>
            </a:r>
          </a:p>
          <a:p>
            <a:r>
              <a:rPr lang="en-US" dirty="0">
                <a:solidFill>
                  <a:srgbClr val="ED7D31"/>
                </a:solidFill>
              </a:rPr>
              <a:t>11% int rate</a:t>
            </a:r>
            <a:endParaRPr lang="en-NL" dirty="0">
              <a:solidFill>
                <a:srgbClr val="ED7D31"/>
              </a:solidFill>
            </a:endParaRPr>
          </a:p>
        </p:txBody>
      </p:sp>
      <p:sp>
        <p:nvSpPr>
          <p:cNvPr id="32" name="TextBox 31">
            <a:extLst>
              <a:ext uri="{FF2B5EF4-FFF2-40B4-BE49-F238E27FC236}">
                <a16:creationId xmlns:a16="http://schemas.microsoft.com/office/drawing/2014/main" id="{34966F64-340C-4DA4-8E69-1654537D6289}"/>
              </a:ext>
            </a:extLst>
          </p:cNvPr>
          <p:cNvSpPr txBox="1"/>
          <p:nvPr/>
        </p:nvSpPr>
        <p:spPr>
          <a:xfrm>
            <a:off x="8003738" y="4983302"/>
            <a:ext cx="1855432" cy="646331"/>
          </a:xfrm>
          <a:prstGeom prst="rect">
            <a:avLst/>
          </a:prstGeom>
          <a:noFill/>
        </p:spPr>
        <p:txBody>
          <a:bodyPr wrap="square" rtlCol="0">
            <a:spAutoFit/>
          </a:bodyPr>
          <a:lstStyle/>
          <a:p>
            <a:r>
              <a:rPr lang="en-US" dirty="0">
                <a:solidFill>
                  <a:srgbClr val="00B050"/>
                </a:solidFill>
              </a:rPr>
              <a:t>Loan 1Y </a:t>
            </a:r>
          </a:p>
          <a:p>
            <a:r>
              <a:rPr lang="en-US" dirty="0">
                <a:solidFill>
                  <a:srgbClr val="00B050"/>
                </a:solidFill>
              </a:rPr>
              <a:t>9% int rate</a:t>
            </a:r>
            <a:endParaRPr lang="en-NL" dirty="0">
              <a:solidFill>
                <a:srgbClr val="00B050"/>
              </a:solidFill>
            </a:endParaRPr>
          </a:p>
        </p:txBody>
      </p:sp>
      <p:sp>
        <p:nvSpPr>
          <p:cNvPr id="33" name="TextBox 32">
            <a:extLst>
              <a:ext uri="{FF2B5EF4-FFF2-40B4-BE49-F238E27FC236}">
                <a16:creationId xmlns:a16="http://schemas.microsoft.com/office/drawing/2014/main" id="{5A9A2580-48AF-4A52-8037-DDDE8845D865}"/>
              </a:ext>
            </a:extLst>
          </p:cNvPr>
          <p:cNvSpPr txBox="1"/>
          <p:nvPr/>
        </p:nvSpPr>
        <p:spPr>
          <a:xfrm>
            <a:off x="8768698" y="3348394"/>
            <a:ext cx="1426345" cy="646331"/>
          </a:xfrm>
          <a:prstGeom prst="rect">
            <a:avLst/>
          </a:prstGeom>
          <a:noFill/>
        </p:spPr>
        <p:txBody>
          <a:bodyPr wrap="square" rtlCol="0">
            <a:spAutoFit/>
          </a:bodyPr>
          <a:lstStyle/>
          <a:p>
            <a:r>
              <a:rPr lang="en-US" dirty="0">
                <a:solidFill>
                  <a:srgbClr val="FF0000"/>
                </a:solidFill>
              </a:rPr>
              <a:t>Interest margin -2%</a:t>
            </a:r>
            <a:endParaRPr lang="en-NL" dirty="0">
              <a:solidFill>
                <a:srgbClr val="FF0000"/>
              </a:solidFill>
            </a:endParaRPr>
          </a:p>
        </p:txBody>
      </p:sp>
    </p:spTree>
    <p:extLst>
      <p:ext uri="{BB962C8B-B14F-4D97-AF65-F5344CB8AC3E}">
        <p14:creationId xmlns:p14="http://schemas.microsoft.com/office/powerpoint/2010/main" val="8538665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39</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Decomposition of the interest margin (1/2)</a:t>
            </a:r>
            <a:endParaRPr lang="en-US" sz="2500" b="1" kern="0" dirty="0">
              <a:solidFill>
                <a:srgbClr val="1F4E79"/>
              </a:solidFill>
              <a:latin typeface="SB Sans Display" panose="020B0503040504020204" pitchFamily="34" charset="0"/>
              <a:ea typeface="等线" panose="02010600030101010101" pitchFamily="2" charset="-122"/>
            </a:endParaRPr>
          </a:p>
        </p:txBody>
      </p:sp>
      <p:graphicFrame>
        <p:nvGraphicFramePr>
          <p:cNvPr id="9" name="Chart 8">
            <a:extLst>
              <a:ext uri="{FF2B5EF4-FFF2-40B4-BE49-F238E27FC236}">
                <a16:creationId xmlns:a16="http://schemas.microsoft.com/office/drawing/2014/main" id="{91A8818E-71FE-43C6-9D03-22D974473735}"/>
              </a:ext>
            </a:extLst>
          </p:cNvPr>
          <p:cNvGraphicFramePr>
            <a:graphicFrameLocks/>
          </p:cNvGraphicFramePr>
          <p:nvPr>
            <p:extLst>
              <p:ext uri="{D42A27DB-BD31-4B8C-83A1-F6EECF244321}">
                <p14:modId xmlns:p14="http://schemas.microsoft.com/office/powerpoint/2010/main" val="263558344"/>
              </p:ext>
            </p:extLst>
          </p:nvPr>
        </p:nvGraphicFramePr>
        <p:xfrm>
          <a:off x="2655068" y="812208"/>
          <a:ext cx="9108489" cy="5625181"/>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Straight Arrow Connector 5">
            <a:extLst>
              <a:ext uri="{FF2B5EF4-FFF2-40B4-BE49-F238E27FC236}">
                <a16:creationId xmlns:a16="http://schemas.microsoft.com/office/drawing/2014/main" id="{CB7C328B-7A05-4AEC-A787-CD4ECE7AFB6E}"/>
              </a:ext>
            </a:extLst>
          </p:cNvPr>
          <p:cNvCxnSpPr>
            <a:cxnSpLocks/>
          </p:cNvCxnSpPr>
          <p:nvPr/>
        </p:nvCxnSpPr>
        <p:spPr>
          <a:xfrm>
            <a:off x="2318271" y="2174605"/>
            <a:ext cx="0" cy="2444711"/>
          </a:xfrm>
          <a:prstGeom prst="straightConnector1">
            <a:avLst/>
          </a:prstGeom>
          <a:ln w="3810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797622E-9141-486A-A8F9-F357C924153B}"/>
              </a:ext>
            </a:extLst>
          </p:cNvPr>
          <p:cNvCxnSpPr>
            <a:cxnSpLocks/>
          </p:cNvCxnSpPr>
          <p:nvPr/>
        </p:nvCxnSpPr>
        <p:spPr>
          <a:xfrm>
            <a:off x="2414544" y="2243031"/>
            <a:ext cx="4704847" cy="0"/>
          </a:xfrm>
          <a:prstGeom prst="line">
            <a:avLst/>
          </a:prstGeom>
          <a:ln w="317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F153B35-FCCC-42D3-9C7D-6208D3A9F6D0}"/>
              </a:ext>
            </a:extLst>
          </p:cNvPr>
          <p:cNvCxnSpPr>
            <a:cxnSpLocks/>
          </p:cNvCxnSpPr>
          <p:nvPr/>
        </p:nvCxnSpPr>
        <p:spPr>
          <a:xfrm>
            <a:off x="2389033" y="4595319"/>
            <a:ext cx="782293" cy="0"/>
          </a:xfrm>
          <a:prstGeom prst="line">
            <a:avLst/>
          </a:prstGeom>
          <a:ln w="317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7BB59C7-6FCB-4656-9DA6-0EFB7D8DE9F6}"/>
              </a:ext>
            </a:extLst>
          </p:cNvPr>
          <p:cNvSpPr txBox="1"/>
          <p:nvPr/>
        </p:nvSpPr>
        <p:spPr>
          <a:xfrm>
            <a:off x="381959" y="2530089"/>
            <a:ext cx="1668784" cy="646331"/>
          </a:xfrm>
          <a:prstGeom prst="rect">
            <a:avLst/>
          </a:prstGeom>
          <a:noFill/>
          <a:ln>
            <a:solidFill>
              <a:schemeClr val="bg1">
                <a:lumMod val="50000"/>
              </a:schemeClr>
            </a:solidFill>
          </a:ln>
        </p:spPr>
        <p:txBody>
          <a:bodyPr wrap="square" rtlCol="0">
            <a:spAutoFit/>
          </a:bodyPr>
          <a:lstStyle/>
          <a:p>
            <a:pPr algn="ctr"/>
            <a:r>
              <a:rPr lang="en-GB" dirty="0">
                <a:solidFill>
                  <a:schemeClr val="bg1">
                    <a:lumMod val="50000"/>
                  </a:schemeClr>
                </a:solidFill>
              </a:rPr>
              <a:t>Total interest margin = 6%</a:t>
            </a:r>
            <a:endParaRPr lang="en-NL" dirty="0">
              <a:solidFill>
                <a:schemeClr val="bg1">
                  <a:lumMod val="50000"/>
                </a:schemeClr>
              </a:solidFill>
            </a:endParaRPr>
          </a:p>
        </p:txBody>
      </p:sp>
      <p:cxnSp>
        <p:nvCxnSpPr>
          <p:cNvPr id="18" name="Straight Arrow Connector 17">
            <a:extLst>
              <a:ext uri="{FF2B5EF4-FFF2-40B4-BE49-F238E27FC236}">
                <a16:creationId xmlns:a16="http://schemas.microsoft.com/office/drawing/2014/main" id="{217C915B-15F1-4992-B9BE-77406282C0C2}"/>
              </a:ext>
            </a:extLst>
          </p:cNvPr>
          <p:cNvCxnSpPr>
            <a:cxnSpLocks/>
          </p:cNvCxnSpPr>
          <p:nvPr/>
        </p:nvCxnSpPr>
        <p:spPr>
          <a:xfrm>
            <a:off x="3236104" y="3773372"/>
            <a:ext cx="0" cy="803820"/>
          </a:xfrm>
          <a:prstGeom prst="straightConnector1">
            <a:avLst/>
          </a:prstGeom>
          <a:ln w="38100">
            <a:solidFill>
              <a:srgbClr val="ED7D3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D98BB4E-4B9D-436D-BEDF-E9ABAC4F3A5F}"/>
              </a:ext>
            </a:extLst>
          </p:cNvPr>
          <p:cNvSpPr txBox="1"/>
          <p:nvPr/>
        </p:nvSpPr>
        <p:spPr>
          <a:xfrm>
            <a:off x="3432649" y="4170809"/>
            <a:ext cx="1668784" cy="646331"/>
          </a:xfrm>
          <a:prstGeom prst="rect">
            <a:avLst/>
          </a:prstGeom>
          <a:noFill/>
          <a:ln>
            <a:solidFill>
              <a:srgbClr val="ED7D31"/>
            </a:solidFill>
          </a:ln>
        </p:spPr>
        <p:txBody>
          <a:bodyPr wrap="square" rtlCol="0">
            <a:spAutoFit/>
          </a:bodyPr>
          <a:lstStyle/>
          <a:p>
            <a:pPr algn="ctr"/>
            <a:r>
              <a:rPr lang="en-GB" dirty="0">
                <a:solidFill>
                  <a:srgbClr val="ED7D31"/>
                </a:solidFill>
              </a:rPr>
              <a:t>The margin for liability = 2,2%</a:t>
            </a:r>
            <a:endParaRPr lang="en-NL" dirty="0">
              <a:solidFill>
                <a:srgbClr val="ED7D31"/>
              </a:solidFill>
            </a:endParaRPr>
          </a:p>
        </p:txBody>
      </p:sp>
      <p:cxnSp>
        <p:nvCxnSpPr>
          <p:cNvPr id="20" name="Straight Arrow Connector 19">
            <a:extLst>
              <a:ext uri="{FF2B5EF4-FFF2-40B4-BE49-F238E27FC236}">
                <a16:creationId xmlns:a16="http://schemas.microsoft.com/office/drawing/2014/main" id="{66E140BE-003D-4683-9606-EBCA10243B56}"/>
              </a:ext>
            </a:extLst>
          </p:cNvPr>
          <p:cNvCxnSpPr>
            <a:cxnSpLocks/>
          </p:cNvCxnSpPr>
          <p:nvPr/>
        </p:nvCxnSpPr>
        <p:spPr>
          <a:xfrm>
            <a:off x="7149535" y="2270843"/>
            <a:ext cx="0" cy="775704"/>
          </a:xfrm>
          <a:prstGeom prst="straightConnector1">
            <a:avLst/>
          </a:prstGeom>
          <a:ln w="38100">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672E221-8CF1-48EF-BAE7-0D19358E5323}"/>
              </a:ext>
            </a:extLst>
          </p:cNvPr>
          <p:cNvCxnSpPr>
            <a:cxnSpLocks/>
          </p:cNvCxnSpPr>
          <p:nvPr/>
        </p:nvCxnSpPr>
        <p:spPr>
          <a:xfrm>
            <a:off x="3261352" y="3753276"/>
            <a:ext cx="3876172" cy="0"/>
          </a:xfrm>
          <a:prstGeom prst="line">
            <a:avLst/>
          </a:prstGeom>
          <a:ln w="31750">
            <a:solidFill>
              <a:srgbClr val="7030A0"/>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C84693E-5F4E-4729-B966-471A481F3524}"/>
              </a:ext>
            </a:extLst>
          </p:cNvPr>
          <p:cNvCxnSpPr>
            <a:cxnSpLocks/>
          </p:cNvCxnSpPr>
          <p:nvPr/>
        </p:nvCxnSpPr>
        <p:spPr>
          <a:xfrm>
            <a:off x="7157620" y="3116854"/>
            <a:ext cx="0" cy="641076"/>
          </a:xfrm>
          <a:prstGeom prst="straightConnector1">
            <a:avLst/>
          </a:prstGeom>
          <a:ln w="3810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C22F2D7-F662-4426-B19B-BE46B45582F9}"/>
              </a:ext>
            </a:extLst>
          </p:cNvPr>
          <p:cNvSpPr txBox="1"/>
          <p:nvPr/>
        </p:nvSpPr>
        <p:spPr>
          <a:xfrm>
            <a:off x="7334383" y="3088573"/>
            <a:ext cx="1894456" cy="646331"/>
          </a:xfrm>
          <a:prstGeom prst="rect">
            <a:avLst/>
          </a:prstGeom>
          <a:noFill/>
          <a:ln>
            <a:solidFill>
              <a:srgbClr val="7030A0"/>
            </a:solidFill>
          </a:ln>
        </p:spPr>
        <p:txBody>
          <a:bodyPr wrap="square" rtlCol="0">
            <a:spAutoFit/>
          </a:bodyPr>
          <a:lstStyle/>
          <a:p>
            <a:pPr algn="ctr"/>
            <a:r>
              <a:rPr lang="en-GB" dirty="0">
                <a:solidFill>
                  <a:srgbClr val="7030A0"/>
                </a:solidFill>
              </a:rPr>
              <a:t>The margin for ALM risk* = 1,7%</a:t>
            </a:r>
            <a:endParaRPr lang="en-NL" dirty="0">
              <a:solidFill>
                <a:srgbClr val="7030A0"/>
              </a:solidFill>
            </a:endParaRPr>
          </a:p>
        </p:txBody>
      </p:sp>
      <p:sp>
        <p:nvSpPr>
          <p:cNvPr id="25" name="TextBox 24">
            <a:extLst>
              <a:ext uri="{FF2B5EF4-FFF2-40B4-BE49-F238E27FC236}">
                <a16:creationId xmlns:a16="http://schemas.microsoft.com/office/drawing/2014/main" id="{CFF448CA-972F-4E02-B230-AFFFA39D9CE3}"/>
              </a:ext>
            </a:extLst>
          </p:cNvPr>
          <p:cNvSpPr txBox="1"/>
          <p:nvPr/>
        </p:nvSpPr>
        <p:spPr>
          <a:xfrm>
            <a:off x="381959" y="6459225"/>
            <a:ext cx="4704843" cy="307777"/>
          </a:xfrm>
          <a:prstGeom prst="rect">
            <a:avLst/>
          </a:prstGeom>
          <a:noFill/>
        </p:spPr>
        <p:txBody>
          <a:bodyPr wrap="square" rtlCol="0">
            <a:spAutoFit/>
          </a:bodyPr>
          <a:lstStyle/>
          <a:p>
            <a:r>
              <a:rPr lang="en-GB" sz="1400" dirty="0"/>
              <a:t>* ALM risks (IRR, FX risk, liquidity risk)</a:t>
            </a:r>
            <a:endParaRPr lang="en-NL" sz="1400" dirty="0"/>
          </a:p>
        </p:txBody>
      </p:sp>
    </p:spTree>
    <p:extLst>
      <p:ext uri="{BB962C8B-B14F-4D97-AF65-F5344CB8AC3E}">
        <p14:creationId xmlns:p14="http://schemas.microsoft.com/office/powerpoint/2010/main" val="27595898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59F07BF-952C-5522-F3B4-D6BDC8ADDAEF}"/>
              </a:ext>
            </a:extLst>
          </p:cNvPr>
          <p:cNvPicPr>
            <a:picLocks noChangeAspect="1"/>
          </p:cNvPicPr>
          <p:nvPr/>
        </p:nvPicPr>
        <p:blipFill>
          <a:blip r:embed="rId2"/>
          <a:stretch>
            <a:fillRect/>
          </a:stretch>
        </p:blipFill>
        <p:spPr>
          <a:xfrm>
            <a:off x="5648325" y="4292896"/>
            <a:ext cx="5653087" cy="2447401"/>
          </a:xfrm>
          <a:prstGeom prst="rect">
            <a:avLst/>
          </a:prstGeom>
        </p:spPr>
      </p:pic>
      <p:sp>
        <p:nvSpPr>
          <p:cNvPr id="2" name="Номер слайда 1"/>
          <p:cNvSpPr>
            <a:spLocks noGrp="1"/>
          </p:cNvSpPr>
          <p:nvPr>
            <p:ph type="sldNum" sz="quarter" idx="12"/>
          </p:nvPr>
        </p:nvSpPr>
        <p:spPr/>
        <p:txBody>
          <a:bodyPr/>
          <a:lstStyle/>
          <a:p>
            <a:fld id="{48F63A3B-78C7-47BE-AE5E-E10140E04643}" type="slidenum">
              <a:rPr lang="en-US" smtClean="0"/>
              <a:t>4</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nterest rate curve</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4" name="TextBox 3">
            <a:extLst>
              <a:ext uri="{FF2B5EF4-FFF2-40B4-BE49-F238E27FC236}">
                <a16:creationId xmlns:a16="http://schemas.microsoft.com/office/drawing/2014/main" id="{6C28FCA2-B9AC-2E0B-9D7F-E8E1795F0BE0}"/>
              </a:ext>
            </a:extLst>
          </p:cNvPr>
          <p:cNvSpPr txBox="1"/>
          <p:nvPr/>
        </p:nvSpPr>
        <p:spPr>
          <a:xfrm>
            <a:off x="404812" y="6444819"/>
            <a:ext cx="8397380" cy="400110"/>
          </a:xfrm>
          <a:prstGeom prst="rect">
            <a:avLst/>
          </a:prstGeom>
          <a:noFill/>
        </p:spPr>
        <p:txBody>
          <a:bodyPr wrap="square" rtlCol="0">
            <a:spAutoFit/>
          </a:bodyPr>
          <a:lstStyle/>
          <a:p>
            <a:r>
              <a:rPr lang="ru-RU" sz="1000" b="1" baseline="30000" dirty="0">
                <a:latin typeface="Arial" panose="020B0604020202020204" pitchFamily="34" charset="0"/>
                <a:cs typeface="Arial" panose="020B0604020202020204" pitchFamily="34" charset="0"/>
              </a:rPr>
              <a:t>1 </a:t>
            </a:r>
            <a:r>
              <a:rPr lang="en-GB" sz="1000" dirty="0">
                <a:latin typeface="Arial" panose="020B0604020202020204" pitchFamily="34" charset="0"/>
                <a:cs typeface="Arial" panose="020B0604020202020204" pitchFamily="34" charset="0"/>
                <a:hlinkClick r:id="rId3"/>
              </a:rPr>
              <a:t>https://cbr.ru/hd_base/zcyc_params/</a:t>
            </a:r>
            <a:r>
              <a:rPr lang="en-GB" sz="1000" dirty="0">
                <a:latin typeface="Arial" panose="020B0604020202020204" pitchFamily="34" charset="0"/>
                <a:cs typeface="Arial" panose="020B0604020202020204" pitchFamily="34" charset="0"/>
              </a:rPr>
              <a:t> </a:t>
            </a:r>
          </a:p>
          <a:p>
            <a:r>
              <a:rPr lang="en-GB" sz="1000" b="1" baseline="30000" dirty="0">
                <a:latin typeface="Arial" panose="020B0604020202020204" pitchFamily="34" charset="0"/>
                <a:cs typeface="Arial" panose="020B0604020202020204" pitchFamily="34" charset="0"/>
              </a:rPr>
              <a:t>2 </a:t>
            </a:r>
            <a:r>
              <a:rPr lang="en-GB" sz="1000" dirty="0">
                <a:latin typeface="Arial" panose="020B0604020202020204" pitchFamily="34" charset="0"/>
                <a:cs typeface="Arial" panose="020B0604020202020204" pitchFamily="34" charset="0"/>
                <a:hlinkClick r:id="rId4"/>
              </a:rPr>
              <a:t>https://smart-lab.ru/q/ofz/</a:t>
            </a:r>
            <a:endParaRPr lang="en-GB" sz="10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2E5DD16-8076-8D92-3E34-3387F347731E}"/>
              </a:ext>
            </a:extLst>
          </p:cNvPr>
          <p:cNvSpPr txBox="1"/>
          <p:nvPr/>
        </p:nvSpPr>
        <p:spPr>
          <a:xfrm>
            <a:off x="404812" y="692214"/>
            <a:ext cx="4900219" cy="338554"/>
          </a:xfrm>
          <a:prstGeom prst="rect">
            <a:avLst/>
          </a:prstGeom>
          <a:noFill/>
        </p:spPr>
        <p:txBody>
          <a:bodyPr wrap="square" rtlCol="0">
            <a:spAutoFit/>
          </a:bodyPr>
          <a:lstStyle/>
          <a:p>
            <a:pPr algn="l" fontAlgn="base"/>
            <a:r>
              <a:rPr lang="en-GB" sz="1600" b="1" i="0" dirty="0">
                <a:solidFill>
                  <a:srgbClr val="000000"/>
                </a:solidFill>
                <a:effectLst/>
                <a:latin typeface="Arial" panose="020B0604020202020204" pitchFamily="34" charset="0"/>
                <a:cs typeface="Arial" panose="020B0604020202020204" pitchFamily="34" charset="0"/>
              </a:rPr>
              <a:t>Shapes of treasury yield curve</a:t>
            </a:r>
            <a:r>
              <a:rPr lang="ru-RU" sz="1600" b="1" baseline="30000" dirty="0">
                <a:latin typeface="Arial" panose="020B0604020202020204" pitchFamily="34" charset="0"/>
                <a:cs typeface="Arial" panose="020B0604020202020204" pitchFamily="34" charset="0"/>
              </a:rPr>
              <a:t> 1 </a:t>
            </a:r>
            <a:r>
              <a:rPr lang="en-GB" sz="1600" b="1" i="0" dirty="0">
                <a:solidFill>
                  <a:srgbClr val="000000"/>
                </a:solidFill>
                <a:effectLst/>
                <a:latin typeface="Arial" panose="020B0604020202020204" pitchFamily="34" charset="0"/>
                <a:cs typeface="Arial" panose="020B0604020202020204" pitchFamily="34" charset="0"/>
              </a:rPr>
              <a:t>:</a:t>
            </a:r>
          </a:p>
        </p:txBody>
      </p:sp>
      <p:pic>
        <p:nvPicPr>
          <p:cNvPr id="10" name="Picture 9">
            <a:extLst>
              <a:ext uri="{FF2B5EF4-FFF2-40B4-BE49-F238E27FC236}">
                <a16:creationId xmlns:a16="http://schemas.microsoft.com/office/drawing/2014/main" id="{6ECF48DF-DAFF-5B2F-7BEE-B9F16FC9DD62}"/>
              </a:ext>
            </a:extLst>
          </p:cNvPr>
          <p:cNvPicPr>
            <a:picLocks noChangeAspect="1"/>
          </p:cNvPicPr>
          <p:nvPr/>
        </p:nvPicPr>
        <p:blipFill>
          <a:blip r:embed="rId5"/>
          <a:stretch>
            <a:fillRect/>
          </a:stretch>
        </p:blipFill>
        <p:spPr>
          <a:xfrm>
            <a:off x="515309" y="4281636"/>
            <a:ext cx="2911120" cy="1971675"/>
          </a:xfrm>
          <a:prstGeom prst="rect">
            <a:avLst/>
          </a:prstGeom>
          <a:ln>
            <a:solidFill>
              <a:srgbClr val="FF0000"/>
            </a:solidFill>
          </a:ln>
        </p:spPr>
      </p:pic>
      <p:sp>
        <p:nvSpPr>
          <p:cNvPr id="15" name="TextBox 14">
            <a:extLst>
              <a:ext uri="{FF2B5EF4-FFF2-40B4-BE49-F238E27FC236}">
                <a16:creationId xmlns:a16="http://schemas.microsoft.com/office/drawing/2014/main" id="{F99418B2-3F36-5FAE-FFC2-7F6A32748D08}"/>
              </a:ext>
            </a:extLst>
          </p:cNvPr>
          <p:cNvSpPr txBox="1"/>
          <p:nvPr/>
        </p:nvSpPr>
        <p:spPr>
          <a:xfrm>
            <a:off x="6791325" y="684578"/>
            <a:ext cx="5138738" cy="3046988"/>
          </a:xfrm>
          <a:prstGeom prst="rect">
            <a:avLst/>
          </a:prstGeom>
          <a:noFill/>
        </p:spPr>
        <p:txBody>
          <a:bodyPr wrap="square" rtlCol="0">
            <a:spAutoFit/>
          </a:bodyPr>
          <a:lstStyle/>
          <a:p>
            <a:r>
              <a:rPr lang="en-GB" sz="1600" b="1" dirty="0">
                <a:latin typeface="Arial" panose="020B0604020202020204" pitchFamily="34" charset="0"/>
                <a:cs typeface="Arial" panose="020B0604020202020204" pitchFamily="34" charset="0"/>
              </a:rPr>
              <a:t>Normal curve </a:t>
            </a:r>
            <a:r>
              <a:rPr lang="en-GB" sz="1600" dirty="0">
                <a:latin typeface="Arial" panose="020B0604020202020204" pitchFamily="34" charset="0"/>
                <a:cs typeface="Arial" panose="020B0604020202020204" pitchFamily="34" charset="0"/>
              </a:rPr>
              <a:t>- </a:t>
            </a:r>
            <a:r>
              <a:rPr lang="en-GB" sz="1600" b="0" i="0" dirty="0">
                <a:solidFill>
                  <a:srgbClr val="202122"/>
                </a:solidFill>
                <a:effectLst/>
                <a:latin typeface="Arial" panose="020B0604020202020204" pitchFamily="34" charset="0"/>
              </a:rPr>
              <a:t>reflects investor expectations for the economy to grow in the future and, importantly, for this growth to be associated with a greater expectation that inflation will rise in the future rather than fall. This expectation of higher inflation leads to expectations </a:t>
            </a:r>
            <a:r>
              <a:rPr lang="en-GB" sz="1600" dirty="0">
                <a:solidFill>
                  <a:srgbClr val="202122"/>
                </a:solidFill>
                <a:latin typeface="Arial" panose="020B0604020202020204" pitchFamily="34" charset="0"/>
              </a:rPr>
              <a:t>that the central bank will tighten monetary policy by raising short</a:t>
            </a:r>
            <a:r>
              <a:rPr lang="en-GB" sz="1600" b="0" i="0" dirty="0">
                <a:solidFill>
                  <a:srgbClr val="202122"/>
                </a:solidFill>
                <a:effectLst/>
                <a:latin typeface="Arial" panose="020B0604020202020204" pitchFamily="34" charset="0"/>
              </a:rPr>
              <a:t>-term interest rates in the future to slow economic growth and dampen inflationary pressure.</a:t>
            </a:r>
            <a:r>
              <a:rPr lang="en-GB" sz="1600" dirty="0">
                <a:latin typeface="Arial" panose="020B0604020202020204" pitchFamily="34" charset="0"/>
                <a:cs typeface="Arial" panose="020B0604020202020204" pitchFamily="34" charset="0"/>
              </a:rPr>
              <a:t> </a:t>
            </a:r>
          </a:p>
          <a:p>
            <a:r>
              <a:rPr lang="en-GB" sz="1600" b="1" dirty="0">
                <a:latin typeface="Arial" panose="020B0604020202020204" pitchFamily="34" charset="0"/>
                <a:cs typeface="Arial" panose="020B0604020202020204" pitchFamily="34" charset="0"/>
              </a:rPr>
              <a:t>Flat curve</a:t>
            </a:r>
            <a:r>
              <a:rPr lang="en-GB" sz="1600" dirty="0">
                <a:latin typeface="Arial" panose="020B0604020202020204" pitchFamily="34" charset="0"/>
                <a:cs typeface="Arial" panose="020B0604020202020204" pitchFamily="34" charset="0"/>
              </a:rPr>
              <a:t> - </a:t>
            </a:r>
            <a:r>
              <a:rPr lang="en-GB" sz="1600" b="0" i="0" dirty="0">
                <a:solidFill>
                  <a:srgbClr val="202122"/>
                </a:solidFill>
                <a:effectLst/>
                <a:latin typeface="Arial" panose="020B0604020202020204" pitchFamily="34" charset="0"/>
              </a:rPr>
              <a:t>sends signals of uncertainty in the economy.</a:t>
            </a:r>
            <a:endParaRPr lang="en-GB" sz="1600" dirty="0">
              <a:latin typeface="Arial" panose="020B0604020202020204" pitchFamily="34" charset="0"/>
              <a:cs typeface="Arial" panose="020B0604020202020204" pitchFamily="34" charset="0"/>
            </a:endParaRPr>
          </a:p>
          <a:p>
            <a:r>
              <a:rPr lang="en-GB" sz="1600" b="1" dirty="0">
                <a:latin typeface="Arial" panose="020B0604020202020204" pitchFamily="34" charset="0"/>
                <a:cs typeface="Arial" panose="020B0604020202020204" pitchFamily="34" charset="0"/>
              </a:rPr>
              <a:t>Inverted curve </a:t>
            </a:r>
            <a:r>
              <a:rPr lang="en-GB" sz="1600" dirty="0">
                <a:latin typeface="Arial" panose="020B0604020202020204" pitchFamily="34" charset="0"/>
                <a:cs typeface="Arial" panose="020B0604020202020204" pitchFamily="34" charset="0"/>
              </a:rPr>
              <a:t>– </a:t>
            </a:r>
            <a:r>
              <a:rPr lang="en-GB" sz="1600" b="0" i="0" dirty="0">
                <a:solidFill>
                  <a:srgbClr val="202122"/>
                </a:solidFill>
                <a:effectLst/>
                <a:latin typeface="Arial" panose="020B0604020202020204" pitchFamily="34" charset="0"/>
              </a:rPr>
              <a:t>reflects investor expectations for the economy to enter a recession shortly</a:t>
            </a:r>
            <a:endParaRPr lang="en-GB" sz="1600" dirty="0">
              <a:latin typeface="Arial" panose="020B0604020202020204" pitchFamily="34" charset="0"/>
              <a:cs typeface="Arial" panose="020B0604020202020204" pitchFamily="34" charset="0"/>
            </a:endParaRPr>
          </a:p>
        </p:txBody>
      </p:sp>
      <p:graphicFrame>
        <p:nvGraphicFramePr>
          <p:cNvPr id="16" name="Диаграмма 3">
            <a:extLst>
              <a:ext uri="{FF2B5EF4-FFF2-40B4-BE49-F238E27FC236}">
                <a16:creationId xmlns:a16="http://schemas.microsoft.com/office/drawing/2014/main" id="{0EF8D913-48A8-413F-B511-1A0B2B1F4F59}"/>
              </a:ext>
            </a:extLst>
          </p:cNvPr>
          <p:cNvGraphicFramePr>
            <a:graphicFrameLocks/>
          </p:cNvGraphicFramePr>
          <p:nvPr/>
        </p:nvGraphicFramePr>
        <p:xfrm>
          <a:off x="446390" y="1081799"/>
          <a:ext cx="6344935" cy="3001320"/>
        </p:xfrm>
        <a:graphic>
          <a:graphicData uri="http://schemas.openxmlformats.org/drawingml/2006/chart">
            <c:chart xmlns:c="http://schemas.openxmlformats.org/drawingml/2006/chart" xmlns:r="http://schemas.openxmlformats.org/officeDocument/2006/relationships" r:id="rId6"/>
          </a:graphicData>
        </a:graphic>
      </p:graphicFrame>
      <p:sp>
        <p:nvSpPr>
          <p:cNvPr id="17" name="TextBox 16">
            <a:extLst>
              <a:ext uri="{FF2B5EF4-FFF2-40B4-BE49-F238E27FC236}">
                <a16:creationId xmlns:a16="http://schemas.microsoft.com/office/drawing/2014/main" id="{BD69FFC3-98E2-981F-8355-D6A1F4013CC8}"/>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5.2</a:t>
            </a:r>
            <a:endParaRPr lang="ru-RU" sz="2500" b="1" dirty="0">
              <a:solidFill>
                <a:srgbClr val="FF0000"/>
              </a:solidFill>
            </a:endParaRPr>
          </a:p>
        </p:txBody>
      </p:sp>
      <p:sp>
        <p:nvSpPr>
          <p:cNvPr id="18" name="TextBox 17">
            <a:extLst>
              <a:ext uri="{FF2B5EF4-FFF2-40B4-BE49-F238E27FC236}">
                <a16:creationId xmlns:a16="http://schemas.microsoft.com/office/drawing/2014/main" id="{A3321E1E-6E44-0A96-F2EE-79187E545B27}"/>
              </a:ext>
            </a:extLst>
          </p:cNvPr>
          <p:cNvSpPr txBox="1"/>
          <p:nvPr/>
        </p:nvSpPr>
        <p:spPr>
          <a:xfrm>
            <a:off x="446390" y="3935281"/>
            <a:ext cx="4900219" cy="338554"/>
          </a:xfrm>
          <a:prstGeom prst="rect">
            <a:avLst/>
          </a:prstGeom>
          <a:noFill/>
        </p:spPr>
        <p:txBody>
          <a:bodyPr wrap="square" rtlCol="0">
            <a:spAutoFit/>
          </a:bodyPr>
          <a:lstStyle/>
          <a:p>
            <a:pPr algn="l" fontAlgn="base"/>
            <a:r>
              <a:rPr lang="en-GB" sz="1600" b="1" i="0" dirty="0">
                <a:solidFill>
                  <a:srgbClr val="000000"/>
                </a:solidFill>
                <a:effectLst/>
                <a:latin typeface="Arial" panose="020B0604020202020204" pitchFamily="34" charset="0"/>
                <a:cs typeface="Arial" panose="020B0604020202020204" pitchFamily="34" charset="0"/>
              </a:rPr>
              <a:t>Evolution of treasury yield on OFZ example </a:t>
            </a:r>
            <a:r>
              <a:rPr lang="en-GB" sz="1600" b="1" baseline="30000" dirty="0">
                <a:latin typeface="Arial" panose="020B0604020202020204" pitchFamily="34" charset="0"/>
                <a:cs typeface="Arial" panose="020B0604020202020204" pitchFamily="34" charset="0"/>
              </a:rPr>
              <a:t>2</a:t>
            </a:r>
            <a:r>
              <a:rPr lang="en-GB" sz="1600" b="1" i="0" dirty="0">
                <a:solidFill>
                  <a:srgbClr val="000000"/>
                </a:solidFill>
                <a:effectLst/>
                <a:latin typeface="Arial" panose="020B0604020202020204" pitchFamily="34" charset="0"/>
                <a:cs typeface="Arial" panose="020B0604020202020204" pitchFamily="34" charset="0"/>
              </a:rPr>
              <a:t> </a:t>
            </a:r>
          </a:p>
        </p:txBody>
      </p:sp>
      <p:sp>
        <p:nvSpPr>
          <p:cNvPr id="19" name="Arrow: Right 18">
            <a:extLst>
              <a:ext uri="{FF2B5EF4-FFF2-40B4-BE49-F238E27FC236}">
                <a16:creationId xmlns:a16="http://schemas.microsoft.com/office/drawing/2014/main" id="{314540CD-842A-29EE-5DA9-27D9327B603D}"/>
              </a:ext>
            </a:extLst>
          </p:cNvPr>
          <p:cNvSpPr/>
          <p:nvPr/>
        </p:nvSpPr>
        <p:spPr>
          <a:xfrm>
            <a:off x="3618857" y="5210175"/>
            <a:ext cx="1534168" cy="400110"/>
          </a:xfrm>
          <a:prstGeom prst="rightArrow">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857673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40</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Decomposition of the interest margin (2/2)</a:t>
            </a:r>
            <a:endParaRPr lang="en-US" sz="2500" b="1" kern="0" dirty="0">
              <a:solidFill>
                <a:srgbClr val="1F4E79"/>
              </a:solidFill>
              <a:latin typeface="SB Sans Display" panose="020B0503040504020204" pitchFamily="34" charset="0"/>
              <a:ea typeface="等线" panose="02010600030101010101" pitchFamily="2" charset="-122"/>
            </a:endParaRPr>
          </a:p>
        </p:txBody>
      </p:sp>
      <p:sp>
        <p:nvSpPr>
          <p:cNvPr id="4" name="TextBox 3">
            <a:extLst>
              <a:ext uri="{FF2B5EF4-FFF2-40B4-BE49-F238E27FC236}">
                <a16:creationId xmlns:a16="http://schemas.microsoft.com/office/drawing/2014/main" id="{6325E7AC-67F9-40EF-B869-4829645F24AC}"/>
              </a:ext>
            </a:extLst>
          </p:cNvPr>
          <p:cNvSpPr txBox="1"/>
          <p:nvPr/>
        </p:nvSpPr>
        <p:spPr>
          <a:xfrm>
            <a:off x="381959" y="6459225"/>
            <a:ext cx="6924363" cy="307777"/>
          </a:xfrm>
          <a:prstGeom prst="rect">
            <a:avLst/>
          </a:prstGeom>
          <a:noFill/>
        </p:spPr>
        <p:txBody>
          <a:bodyPr wrap="square" rtlCol="0">
            <a:spAutoFit/>
          </a:bodyPr>
          <a:lstStyle/>
          <a:p>
            <a:r>
              <a:rPr lang="en-GB" sz="1400" dirty="0"/>
              <a:t>* for NII allocation FTP curve is fixed on the date of origination of the instrument</a:t>
            </a:r>
            <a:endParaRPr lang="en-NL" sz="1400" dirty="0"/>
          </a:p>
        </p:txBody>
      </p:sp>
      <p:graphicFrame>
        <p:nvGraphicFramePr>
          <p:cNvPr id="3" name="Table 5">
            <a:extLst>
              <a:ext uri="{FF2B5EF4-FFF2-40B4-BE49-F238E27FC236}">
                <a16:creationId xmlns:a16="http://schemas.microsoft.com/office/drawing/2014/main" id="{B6B98FA0-3239-47C0-81D7-073FC6C4F4D7}"/>
              </a:ext>
            </a:extLst>
          </p:cNvPr>
          <p:cNvGraphicFramePr>
            <a:graphicFrameLocks noGrp="1"/>
          </p:cNvGraphicFramePr>
          <p:nvPr>
            <p:extLst>
              <p:ext uri="{D42A27DB-BD31-4B8C-83A1-F6EECF244321}">
                <p14:modId xmlns:p14="http://schemas.microsoft.com/office/powerpoint/2010/main" val="2886118692"/>
              </p:ext>
            </p:extLst>
          </p:nvPr>
        </p:nvGraphicFramePr>
        <p:xfrm>
          <a:off x="265344" y="2397545"/>
          <a:ext cx="2362446" cy="741680"/>
        </p:xfrm>
        <a:graphic>
          <a:graphicData uri="http://schemas.openxmlformats.org/drawingml/2006/table">
            <a:tbl>
              <a:tblPr firstRow="1" bandRow="1">
                <a:tableStyleId>{5940675A-B579-460E-94D1-54222C63F5DA}</a:tableStyleId>
              </a:tblPr>
              <a:tblGrid>
                <a:gridCol w="497182">
                  <a:extLst>
                    <a:ext uri="{9D8B030D-6E8A-4147-A177-3AD203B41FA5}">
                      <a16:colId xmlns:a16="http://schemas.microsoft.com/office/drawing/2014/main" val="670080118"/>
                    </a:ext>
                  </a:extLst>
                </a:gridCol>
                <a:gridCol w="1865264">
                  <a:extLst>
                    <a:ext uri="{9D8B030D-6E8A-4147-A177-3AD203B41FA5}">
                      <a16:colId xmlns:a16="http://schemas.microsoft.com/office/drawing/2014/main" val="3671856829"/>
                    </a:ext>
                  </a:extLst>
                </a:gridCol>
              </a:tblGrid>
              <a:tr h="370840">
                <a:tc>
                  <a:txBody>
                    <a:bodyPr/>
                    <a:lstStyle/>
                    <a:p>
                      <a:r>
                        <a:rPr lang="en-US" dirty="0">
                          <a:solidFill>
                            <a:srgbClr val="00B050"/>
                          </a:solidFill>
                        </a:rPr>
                        <a:t>A</a:t>
                      </a:r>
                      <a:endParaRPr lang="en-NL" dirty="0">
                        <a:solidFill>
                          <a:srgbClr val="00B050"/>
                        </a:solidFill>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00B050"/>
                          </a:solidFill>
                        </a:rPr>
                        <a:t>Loan 1y 100$*</a:t>
                      </a:r>
                      <a:endParaRPr lang="en-NL" dirty="0">
                        <a:solidFill>
                          <a:srgbClr val="00B050"/>
                        </a:solidFill>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9203129"/>
                  </a:ext>
                </a:extLst>
              </a:tr>
              <a:tr h="370840">
                <a:tc>
                  <a:txBody>
                    <a:bodyPr/>
                    <a:lstStyle/>
                    <a:p>
                      <a:r>
                        <a:rPr lang="en-US" dirty="0">
                          <a:solidFill>
                            <a:srgbClr val="ED7D31"/>
                          </a:solidFill>
                        </a:rPr>
                        <a:t>L</a:t>
                      </a:r>
                      <a:endParaRPr lang="en-NL" dirty="0">
                        <a:solidFill>
                          <a:srgbClr val="ED7D31"/>
                        </a:solidFill>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dirty="0">
                          <a:solidFill>
                            <a:srgbClr val="ED7D31"/>
                          </a:solidFill>
                        </a:rPr>
                        <a:t>Deposit 1m 50$*</a:t>
                      </a:r>
                      <a:endParaRPr lang="en-NL" dirty="0">
                        <a:solidFill>
                          <a:srgbClr val="ED7D31"/>
                        </a:solidFill>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18556252"/>
                  </a:ext>
                </a:extLst>
              </a:tr>
            </a:tbl>
          </a:graphicData>
        </a:graphic>
      </p:graphicFrame>
      <p:cxnSp>
        <p:nvCxnSpPr>
          <p:cNvPr id="9" name="Straight Arrow Connector 8">
            <a:extLst>
              <a:ext uri="{FF2B5EF4-FFF2-40B4-BE49-F238E27FC236}">
                <a16:creationId xmlns:a16="http://schemas.microsoft.com/office/drawing/2014/main" id="{A7784EA8-D314-46D3-BDD8-432996BABF19}"/>
              </a:ext>
            </a:extLst>
          </p:cNvPr>
          <p:cNvCxnSpPr>
            <a:cxnSpLocks/>
          </p:cNvCxnSpPr>
          <p:nvPr/>
        </p:nvCxnSpPr>
        <p:spPr>
          <a:xfrm flipV="1">
            <a:off x="2627790" y="1999512"/>
            <a:ext cx="1819923" cy="398033"/>
          </a:xfrm>
          <a:prstGeom prst="straightConnector1">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1129C815-3EDF-40C2-87D2-34D9C0FEB2A0}"/>
              </a:ext>
            </a:extLst>
          </p:cNvPr>
          <p:cNvCxnSpPr>
            <a:cxnSpLocks/>
          </p:cNvCxnSpPr>
          <p:nvPr/>
        </p:nvCxnSpPr>
        <p:spPr>
          <a:xfrm>
            <a:off x="2627790" y="2991775"/>
            <a:ext cx="1819923" cy="147450"/>
          </a:xfrm>
          <a:prstGeom prst="straightConnector1">
            <a:avLst/>
          </a:prstGeom>
          <a:ln>
            <a:solidFill>
              <a:srgbClr val="ED7D3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2" name="Table 5">
            <a:extLst>
              <a:ext uri="{FF2B5EF4-FFF2-40B4-BE49-F238E27FC236}">
                <a16:creationId xmlns:a16="http://schemas.microsoft.com/office/drawing/2014/main" id="{6B6B6F5A-FC3E-4007-93A3-F1D7F737D82D}"/>
              </a:ext>
            </a:extLst>
          </p:cNvPr>
          <p:cNvGraphicFramePr>
            <a:graphicFrameLocks noGrp="1"/>
          </p:cNvGraphicFramePr>
          <p:nvPr>
            <p:extLst>
              <p:ext uri="{D42A27DB-BD31-4B8C-83A1-F6EECF244321}">
                <p14:modId xmlns:p14="http://schemas.microsoft.com/office/powerpoint/2010/main" val="3909096273"/>
              </p:ext>
            </p:extLst>
          </p:nvPr>
        </p:nvGraphicFramePr>
        <p:xfrm>
          <a:off x="4616608" y="1338057"/>
          <a:ext cx="7310048" cy="914400"/>
        </p:xfrm>
        <a:graphic>
          <a:graphicData uri="http://schemas.openxmlformats.org/drawingml/2006/table">
            <a:tbl>
              <a:tblPr firstRow="1" bandRow="1">
                <a:tableStyleId>{5940675A-B579-460E-94D1-54222C63F5DA}</a:tableStyleId>
              </a:tblPr>
              <a:tblGrid>
                <a:gridCol w="498116">
                  <a:extLst>
                    <a:ext uri="{9D8B030D-6E8A-4147-A177-3AD203B41FA5}">
                      <a16:colId xmlns:a16="http://schemas.microsoft.com/office/drawing/2014/main" val="670080118"/>
                    </a:ext>
                  </a:extLst>
                </a:gridCol>
                <a:gridCol w="2422418">
                  <a:extLst>
                    <a:ext uri="{9D8B030D-6E8A-4147-A177-3AD203B41FA5}">
                      <a16:colId xmlns:a16="http://schemas.microsoft.com/office/drawing/2014/main" val="3671856829"/>
                    </a:ext>
                  </a:extLst>
                </a:gridCol>
                <a:gridCol w="2385432">
                  <a:extLst>
                    <a:ext uri="{9D8B030D-6E8A-4147-A177-3AD203B41FA5}">
                      <a16:colId xmlns:a16="http://schemas.microsoft.com/office/drawing/2014/main" val="3243075243"/>
                    </a:ext>
                  </a:extLst>
                </a:gridCol>
                <a:gridCol w="2004082">
                  <a:extLst>
                    <a:ext uri="{9D8B030D-6E8A-4147-A177-3AD203B41FA5}">
                      <a16:colId xmlns:a16="http://schemas.microsoft.com/office/drawing/2014/main" val="4021653921"/>
                    </a:ext>
                  </a:extLst>
                </a:gridCol>
              </a:tblGrid>
              <a:tr h="470475">
                <a:tc>
                  <a:txBody>
                    <a:bodyPr/>
                    <a:lstStyle/>
                    <a:p>
                      <a:r>
                        <a:rPr lang="en-US" dirty="0">
                          <a:solidFill>
                            <a:srgbClr val="00B050"/>
                          </a:solidFill>
                        </a:rPr>
                        <a:t>A</a:t>
                      </a:r>
                      <a:endParaRPr lang="en-NL" dirty="0">
                        <a:solidFill>
                          <a:srgbClr val="00B050"/>
                        </a:solidFill>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00B050"/>
                          </a:solidFill>
                        </a:rPr>
                        <a:t>Loan 1y 100$</a:t>
                      </a:r>
                      <a:endParaRPr lang="en-NL" dirty="0">
                        <a:solidFill>
                          <a:srgbClr val="00B05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00B050"/>
                          </a:solidFill>
                        </a:rPr>
                        <a:t>Contractual rate = 9%</a:t>
                      </a:r>
                      <a:endParaRPr lang="en-NL" dirty="0">
                        <a:solidFill>
                          <a:srgbClr val="00B05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B050"/>
                          </a:solidFill>
                        </a:rPr>
                        <a:t>The margin of the Asset originator 2,1%</a:t>
                      </a:r>
                      <a:endParaRPr lang="en-NL" dirty="0">
                        <a:solidFill>
                          <a:srgbClr val="00B050"/>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9203129"/>
                  </a:ext>
                </a:extLst>
              </a:tr>
              <a:tr h="268843">
                <a:tc>
                  <a:txBody>
                    <a:bodyPr/>
                    <a:lstStyle/>
                    <a:p>
                      <a:r>
                        <a:rPr lang="en-US" dirty="0">
                          <a:solidFill>
                            <a:srgbClr val="7030A0"/>
                          </a:solidFill>
                        </a:rPr>
                        <a:t>VL</a:t>
                      </a:r>
                      <a:endParaRPr lang="en-NL" dirty="0">
                        <a:solidFill>
                          <a:srgbClr val="7030A0"/>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dirty="0">
                          <a:solidFill>
                            <a:srgbClr val="7030A0"/>
                          </a:solidFill>
                        </a:rPr>
                        <a:t>Virtual liability 1y 100$</a:t>
                      </a:r>
                      <a:endParaRPr lang="en-NL" dirty="0">
                        <a:solidFill>
                          <a:srgbClr val="7030A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dirty="0">
                          <a:solidFill>
                            <a:srgbClr val="7030A0"/>
                          </a:solidFill>
                        </a:rPr>
                        <a:t>FTP rate = 6,9%</a:t>
                      </a:r>
                      <a:endParaRPr lang="en-NL" dirty="0">
                        <a:solidFill>
                          <a:srgbClr val="7030A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vMerge="1">
                  <a:txBody>
                    <a:bodyPr/>
                    <a:lstStyle/>
                    <a:p>
                      <a:endParaRPr lang="en-NL" dirty="0">
                        <a:solidFill>
                          <a:srgbClr val="5B9BD5"/>
                        </a:solidFill>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18556252"/>
                  </a:ext>
                </a:extLst>
              </a:tr>
            </a:tbl>
          </a:graphicData>
        </a:graphic>
      </p:graphicFrame>
      <p:graphicFrame>
        <p:nvGraphicFramePr>
          <p:cNvPr id="26" name="Table 5">
            <a:extLst>
              <a:ext uri="{FF2B5EF4-FFF2-40B4-BE49-F238E27FC236}">
                <a16:creationId xmlns:a16="http://schemas.microsoft.com/office/drawing/2014/main" id="{B853135D-39E0-4256-A89F-69B04ED5396F}"/>
              </a:ext>
            </a:extLst>
          </p:cNvPr>
          <p:cNvGraphicFramePr>
            <a:graphicFrameLocks noGrp="1"/>
          </p:cNvGraphicFramePr>
          <p:nvPr>
            <p:extLst>
              <p:ext uri="{D42A27DB-BD31-4B8C-83A1-F6EECF244321}">
                <p14:modId xmlns:p14="http://schemas.microsoft.com/office/powerpoint/2010/main" val="3737989002"/>
              </p:ext>
            </p:extLst>
          </p:nvPr>
        </p:nvGraphicFramePr>
        <p:xfrm>
          <a:off x="4616608" y="2721107"/>
          <a:ext cx="7310048" cy="914400"/>
        </p:xfrm>
        <a:graphic>
          <a:graphicData uri="http://schemas.openxmlformats.org/drawingml/2006/table">
            <a:tbl>
              <a:tblPr firstRow="1" bandRow="1">
                <a:tableStyleId>{5940675A-B579-460E-94D1-54222C63F5DA}</a:tableStyleId>
              </a:tblPr>
              <a:tblGrid>
                <a:gridCol w="498116">
                  <a:extLst>
                    <a:ext uri="{9D8B030D-6E8A-4147-A177-3AD203B41FA5}">
                      <a16:colId xmlns:a16="http://schemas.microsoft.com/office/drawing/2014/main" val="670080118"/>
                    </a:ext>
                  </a:extLst>
                </a:gridCol>
                <a:gridCol w="2493439">
                  <a:extLst>
                    <a:ext uri="{9D8B030D-6E8A-4147-A177-3AD203B41FA5}">
                      <a16:colId xmlns:a16="http://schemas.microsoft.com/office/drawing/2014/main" val="3671856829"/>
                    </a:ext>
                  </a:extLst>
                </a:gridCol>
                <a:gridCol w="2314411">
                  <a:extLst>
                    <a:ext uri="{9D8B030D-6E8A-4147-A177-3AD203B41FA5}">
                      <a16:colId xmlns:a16="http://schemas.microsoft.com/office/drawing/2014/main" val="3243075243"/>
                    </a:ext>
                  </a:extLst>
                </a:gridCol>
                <a:gridCol w="2004082">
                  <a:extLst>
                    <a:ext uri="{9D8B030D-6E8A-4147-A177-3AD203B41FA5}">
                      <a16:colId xmlns:a16="http://schemas.microsoft.com/office/drawing/2014/main" val="4021653921"/>
                    </a:ext>
                  </a:extLst>
                </a:gridCol>
              </a:tblGrid>
              <a:tr h="470475">
                <a:tc>
                  <a:txBody>
                    <a:bodyPr/>
                    <a:lstStyle/>
                    <a:p>
                      <a:r>
                        <a:rPr lang="en-US" sz="1800" kern="1200" dirty="0">
                          <a:solidFill>
                            <a:srgbClr val="7030A0"/>
                          </a:solidFill>
                          <a:latin typeface="+mn-lt"/>
                          <a:ea typeface="+mn-ea"/>
                          <a:cs typeface="+mn-cs"/>
                        </a:rPr>
                        <a:t>VA</a:t>
                      </a:r>
                      <a:endParaRPr lang="en-NL" sz="1800" kern="1200" dirty="0">
                        <a:solidFill>
                          <a:srgbClr val="7030A0"/>
                        </a:solidFill>
                        <a:latin typeface="+mn-lt"/>
                        <a:ea typeface="+mn-ea"/>
                        <a:cs typeface="+mn-cs"/>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7030A0"/>
                          </a:solidFill>
                        </a:rPr>
                        <a:t>Virtual asset 1m 50$</a:t>
                      </a:r>
                      <a:endParaRPr lang="en-NL" dirty="0">
                        <a:solidFill>
                          <a:srgbClr val="7030A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a:solidFill>
                            <a:srgbClr val="7030A0"/>
                          </a:solidFill>
                        </a:rPr>
                        <a:t>FTP rate = 5,2%</a:t>
                      </a:r>
                      <a:endParaRPr lang="en-NL" dirty="0">
                        <a:solidFill>
                          <a:srgbClr val="7030A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ED7D31"/>
                          </a:solidFill>
                        </a:rPr>
                        <a:t>The margin of the Lability originator 2,2%</a:t>
                      </a:r>
                      <a:endParaRPr lang="en-NL" dirty="0">
                        <a:solidFill>
                          <a:srgbClr val="ED7D31"/>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9203129"/>
                  </a:ext>
                </a:extLst>
              </a:tr>
              <a:tr h="268843">
                <a:tc>
                  <a:txBody>
                    <a:bodyPr/>
                    <a:lstStyle/>
                    <a:p>
                      <a:r>
                        <a:rPr lang="en-US" dirty="0">
                          <a:solidFill>
                            <a:srgbClr val="ED7D31"/>
                          </a:solidFill>
                        </a:rPr>
                        <a:t>L</a:t>
                      </a:r>
                      <a:endParaRPr lang="en-NL" dirty="0">
                        <a:solidFill>
                          <a:srgbClr val="ED7D31"/>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dirty="0">
                          <a:solidFill>
                            <a:srgbClr val="ED7D31"/>
                          </a:solidFill>
                        </a:rPr>
                        <a:t>Deposit 1m 50$</a:t>
                      </a:r>
                      <a:endParaRPr lang="en-NL" dirty="0">
                        <a:solidFill>
                          <a:srgbClr val="ED7D3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dirty="0">
                          <a:solidFill>
                            <a:srgbClr val="ED7D31"/>
                          </a:solidFill>
                        </a:rPr>
                        <a:t>Contractual rate = 3%</a:t>
                      </a:r>
                      <a:endParaRPr lang="en-NL" dirty="0">
                        <a:solidFill>
                          <a:srgbClr val="ED7D3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vMerge="1">
                  <a:txBody>
                    <a:bodyPr/>
                    <a:lstStyle/>
                    <a:p>
                      <a:endParaRPr lang="en-NL" dirty="0">
                        <a:solidFill>
                          <a:srgbClr val="5B9BD5"/>
                        </a:solidFill>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18556252"/>
                  </a:ext>
                </a:extLst>
              </a:tr>
            </a:tbl>
          </a:graphicData>
        </a:graphic>
      </p:graphicFrame>
      <p:graphicFrame>
        <p:nvGraphicFramePr>
          <p:cNvPr id="27" name="Table 5">
            <a:extLst>
              <a:ext uri="{FF2B5EF4-FFF2-40B4-BE49-F238E27FC236}">
                <a16:creationId xmlns:a16="http://schemas.microsoft.com/office/drawing/2014/main" id="{EF916E41-6838-46F8-88F0-E74262BAFA6C}"/>
              </a:ext>
            </a:extLst>
          </p:cNvPr>
          <p:cNvGraphicFramePr>
            <a:graphicFrameLocks noGrp="1"/>
          </p:cNvGraphicFramePr>
          <p:nvPr>
            <p:extLst>
              <p:ext uri="{D42A27DB-BD31-4B8C-83A1-F6EECF244321}">
                <p14:modId xmlns:p14="http://schemas.microsoft.com/office/powerpoint/2010/main" val="3311561326"/>
              </p:ext>
            </p:extLst>
          </p:nvPr>
        </p:nvGraphicFramePr>
        <p:xfrm>
          <a:off x="4616607" y="4216212"/>
          <a:ext cx="7377124" cy="914400"/>
        </p:xfrm>
        <a:graphic>
          <a:graphicData uri="http://schemas.openxmlformats.org/drawingml/2006/table">
            <a:tbl>
              <a:tblPr firstRow="1" bandRow="1">
                <a:tableStyleId>{5940675A-B579-460E-94D1-54222C63F5DA}</a:tableStyleId>
              </a:tblPr>
              <a:tblGrid>
                <a:gridCol w="502687">
                  <a:extLst>
                    <a:ext uri="{9D8B030D-6E8A-4147-A177-3AD203B41FA5}">
                      <a16:colId xmlns:a16="http://schemas.microsoft.com/office/drawing/2014/main" val="670080118"/>
                    </a:ext>
                  </a:extLst>
                </a:gridCol>
                <a:gridCol w="2489324">
                  <a:extLst>
                    <a:ext uri="{9D8B030D-6E8A-4147-A177-3AD203B41FA5}">
                      <a16:colId xmlns:a16="http://schemas.microsoft.com/office/drawing/2014/main" val="3671856829"/>
                    </a:ext>
                  </a:extLst>
                </a:gridCol>
                <a:gridCol w="4385113">
                  <a:extLst>
                    <a:ext uri="{9D8B030D-6E8A-4147-A177-3AD203B41FA5}">
                      <a16:colId xmlns:a16="http://schemas.microsoft.com/office/drawing/2014/main" val="3243075243"/>
                    </a:ext>
                  </a:extLst>
                </a:gridCol>
              </a:tblGrid>
              <a:tr h="470475">
                <a:tc>
                  <a:txBody>
                    <a:bodyPr/>
                    <a:lstStyle/>
                    <a:p>
                      <a:r>
                        <a:rPr lang="en-US" sz="1800" kern="1200" dirty="0">
                          <a:solidFill>
                            <a:srgbClr val="7030A0"/>
                          </a:solidFill>
                          <a:latin typeface="+mn-lt"/>
                          <a:ea typeface="+mn-ea"/>
                          <a:cs typeface="+mn-cs"/>
                        </a:rPr>
                        <a:t>VA</a:t>
                      </a:r>
                      <a:endParaRPr lang="en-NL" sz="1800" kern="1200" dirty="0">
                        <a:solidFill>
                          <a:srgbClr val="7030A0"/>
                        </a:solidFill>
                        <a:latin typeface="+mn-lt"/>
                        <a:ea typeface="+mn-ea"/>
                        <a:cs typeface="+mn-cs"/>
                      </a:endParaRPr>
                    </a:p>
                  </a:txBody>
                  <a:tcPr anchor="ct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b="0" dirty="0">
                          <a:solidFill>
                            <a:srgbClr val="7030A0"/>
                          </a:solidFill>
                        </a:rPr>
                        <a:t>Virtual asset 1m 50$</a:t>
                      </a:r>
                      <a:endParaRPr lang="en-NL" b="0" dirty="0">
                        <a:solidFill>
                          <a:srgbClr val="7030A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en-GB" dirty="0">
                          <a:solidFill>
                            <a:srgbClr val="7030A0"/>
                          </a:solidFill>
                        </a:rPr>
                        <a:t>PL of The </a:t>
                      </a:r>
                      <a:r>
                        <a:rPr lang="en-GB">
                          <a:solidFill>
                            <a:srgbClr val="7030A0"/>
                          </a:solidFill>
                        </a:rPr>
                        <a:t>internal bank  </a:t>
                      </a:r>
                      <a:r>
                        <a:rPr lang="en-GB" dirty="0">
                          <a:solidFill>
                            <a:srgbClr val="7030A0"/>
                          </a:solidFill>
                        </a:rPr>
                        <a:t>=&gt; 6% - 2,1% - 2,2% + instruments of management of liquidity and interest rate risks =&gt; ideally ~0</a:t>
                      </a:r>
                      <a:endParaRPr lang="en-NL" dirty="0">
                        <a:solidFill>
                          <a:srgbClr val="7030A0"/>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79203129"/>
                  </a:ext>
                </a:extLst>
              </a:tr>
              <a:tr h="268843">
                <a:tc>
                  <a:txBody>
                    <a:bodyPr/>
                    <a:lstStyle/>
                    <a:p>
                      <a:r>
                        <a:rPr lang="en-US" dirty="0">
                          <a:solidFill>
                            <a:srgbClr val="7030A0"/>
                          </a:solidFill>
                        </a:rPr>
                        <a:t>VL</a:t>
                      </a:r>
                      <a:endParaRPr lang="en-NL" dirty="0">
                        <a:solidFill>
                          <a:srgbClr val="7030A0"/>
                        </a:solidFill>
                      </a:endParaRPr>
                    </a:p>
                  </a:txBody>
                  <a:tcPr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b="0" dirty="0">
                          <a:solidFill>
                            <a:srgbClr val="7030A0"/>
                          </a:solidFill>
                        </a:rPr>
                        <a:t>Virtual liability 1y 100$</a:t>
                      </a:r>
                      <a:endParaRPr lang="en-NL" b="0" dirty="0">
                        <a:solidFill>
                          <a:srgbClr val="7030A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vMerge="1">
                  <a:txBody>
                    <a:bodyPr/>
                    <a:lstStyle/>
                    <a:p>
                      <a:endParaRPr lang="en-NL" dirty="0">
                        <a:solidFill>
                          <a:srgbClr val="5B9BD5"/>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18556252"/>
                  </a:ext>
                </a:extLst>
              </a:tr>
            </a:tbl>
          </a:graphicData>
        </a:graphic>
      </p:graphicFrame>
      <p:sp>
        <p:nvSpPr>
          <p:cNvPr id="29" name="TextBox 28">
            <a:extLst>
              <a:ext uri="{FF2B5EF4-FFF2-40B4-BE49-F238E27FC236}">
                <a16:creationId xmlns:a16="http://schemas.microsoft.com/office/drawing/2014/main" id="{B489BCEE-C2F1-49C1-977B-A9DD12656A59}"/>
              </a:ext>
            </a:extLst>
          </p:cNvPr>
          <p:cNvSpPr txBox="1"/>
          <p:nvPr/>
        </p:nvSpPr>
        <p:spPr>
          <a:xfrm>
            <a:off x="4616607" y="5670767"/>
            <a:ext cx="7310049"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solidFill>
                  <a:srgbClr val="7030A0"/>
                </a:solidFill>
              </a:rPr>
              <a:t>The </a:t>
            </a:r>
            <a:r>
              <a:rPr lang="en-US" sz="2000" b="1" dirty="0">
                <a:solidFill>
                  <a:srgbClr val="7030A0"/>
                </a:solidFill>
              </a:rPr>
              <a:t>internal bank should not be a </a:t>
            </a:r>
            <a:r>
              <a:rPr lang="en-US" sz="2000" b="1" dirty="0">
                <a:solidFill>
                  <a:srgbClr val="5B9BD5"/>
                </a:solidFill>
                <a:hlinkClick r:id="rId2"/>
              </a:rPr>
              <a:t>revenue generating unit</a:t>
            </a:r>
            <a:r>
              <a:rPr lang="en-US" sz="2000" b="1" dirty="0">
                <a:solidFill>
                  <a:srgbClr val="7030A0"/>
                </a:solidFill>
              </a:rPr>
              <a:t>!</a:t>
            </a:r>
            <a:endParaRPr lang="en-NL" sz="2000" b="1" dirty="0">
              <a:solidFill>
                <a:srgbClr val="7030A0"/>
              </a:solidFill>
            </a:endParaRPr>
          </a:p>
        </p:txBody>
      </p:sp>
      <p:cxnSp>
        <p:nvCxnSpPr>
          <p:cNvPr id="10" name="Straight Arrow Connector 9">
            <a:extLst>
              <a:ext uri="{FF2B5EF4-FFF2-40B4-BE49-F238E27FC236}">
                <a16:creationId xmlns:a16="http://schemas.microsoft.com/office/drawing/2014/main" id="{4A52CF5D-9329-E6D7-A6FA-BCDAC4357E27}"/>
              </a:ext>
            </a:extLst>
          </p:cNvPr>
          <p:cNvCxnSpPr>
            <a:cxnSpLocks/>
          </p:cNvCxnSpPr>
          <p:nvPr/>
        </p:nvCxnSpPr>
        <p:spPr>
          <a:xfrm flipV="1">
            <a:off x="2627790" y="4666268"/>
            <a:ext cx="1614272" cy="546755"/>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5AB571A-82D2-776A-7FFF-74F0DFB71EE5}"/>
              </a:ext>
            </a:extLst>
          </p:cNvPr>
          <p:cNvSpPr txBox="1"/>
          <p:nvPr/>
        </p:nvSpPr>
        <p:spPr>
          <a:xfrm>
            <a:off x="569232" y="4555579"/>
            <a:ext cx="1871286" cy="1600438"/>
          </a:xfrm>
          <a:prstGeom prst="rect">
            <a:avLst/>
          </a:prstGeom>
          <a:noFill/>
        </p:spPr>
        <p:txBody>
          <a:bodyPr wrap="square" rtlCol="0">
            <a:spAutoFit/>
          </a:bodyPr>
          <a:lstStyle/>
          <a:p>
            <a:r>
              <a:rPr lang="en-US" sz="1400" dirty="0">
                <a:solidFill>
                  <a:schemeClr val="bg1">
                    <a:lumMod val="65000"/>
                  </a:schemeClr>
                </a:solidFill>
              </a:rPr>
              <a:t>This representation is helpful for IRR management and PL on Internal bank. For liquidity risk internal bank works with real assets an liabilities</a:t>
            </a:r>
            <a:endParaRPr lang="en-NL" sz="1400" dirty="0">
              <a:solidFill>
                <a:schemeClr val="bg1">
                  <a:lumMod val="65000"/>
                </a:schemeClr>
              </a:solidFill>
            </a:endParaRPr>
          </a:p>
        </p:txBody>
      </p:sp>
    </p:spTree>
    <p:extLst>
      <p:ext uri="{BB962C8B-B14F-4D97-AF65-F5344CB8AC3E}">
        <p14:creationId xmlns:p14="http://schemas.microsoft.com/office/powerpoint/2010/main" val="16530220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C57F71B-64C1-4228-81BC-5B865113477A}"/>
              </a:ext>
            </a:extLst>
          </p:cNvPr>
          <p:cNvPicPr>
            <a:picLocks noChangeAspect="1"/>
          </p:cNvPicPr>
          <p:nvPr/>
        </p:nvPicPr>
        <p:blipFill>
          <a:blip r:embed="rId2"/>
          <a:stretch>
            <a:fillRect/>
          </a:stretch>
        </p:blipFill>
        <p:spPr>
          <a:xfrm>
            <a:off x="475047" y="911209"/>
            <a:ext cx="10044991" cy="5633930"/>
          </a:xfrm>
          <a:prstGeom prst="rect">
            <a:avLst/>
          </a:prstGeom>
        </p:spPr>
      </p:pic>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41</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Proper management of liquidity risk and interest rate risk</a:t>
            </a:r>
            <a:endParaRPr lang="en-US" sz="2500" b="1" kern="0" dirty="0">
              <a:solidFill>
                <a:srgbClr val="1F4E79"/>
              </a:solidFill>
              <a:latin typeface="SB Sans Display" panose="020B0503040504020204" pitchFamily="34" charset="0"/>
              <a:ea typeface="等线" panose="02010600030101010101" pitchFamily="2" charset="-122"/>
            </a:endParaRPr>
          </a:p>
        </p:txBody>
      </p:sp>
      <p:sp>
        <p:nvSpPr>
          <p:cNvPr id="6" name="TextBox 5">
            <a:extLst>
              <a:ext uri="{FF2B5EF4-FFF2-40B4-BE49-F238E27FC236}">
                <a16:creationId xmlns:a16="http://schemas.microsoft.com/office/drawing/2014/main" id="{643608F7-1E7A-4F80-A9AD-FF9BFDDEC112}"/>
              </a:ext>
            </a:extLst>
          </p:cNvPr>
          <p:cNvSpPr txBox="1"/>
          <p:nvPr/>
        </p:nvSpPr>
        <p:spPr>
          <a:xfrm>
            <a:off x="4599620" y="1016677"/>
            <a:ext cx="2236185" cy="369332"/>
          </a:xfrm>
          <a:prstGeom prst="rect">
            <a:avLst/>
          </a:prstGeom>
          <a:solidFill>
            <a:schemeClr val="bg1"/>
          </a:solidFill>
        </p:spPr>
        <p:txBody>
          <a:bodyPr wrap="square" rtlCol="0">
            <a:spAutoFit/>
          </a:bodyPr>
          <a:lstStyle/>
          <a:p>
            <a:r>
              <a:rPr lang="en-GB" dirty="0"/>
              <a:t>Business Department</a:t>
            </a:r>
            <a:endParaRPr lang="en-NL" dirty="0"/>
          </a:p>
        </p:txBody>
      </p:sp>
      <p:sp>
        <p:nvSpPr>
          <p:cNvPr id="7" name="TextBox 6">
            <a:extLst>
              <a:ext uri="{FF2B5EF4-FFF2-40B4-BE49-F238E27FC236}">
                <a16:creationId xmlns:a16="http://schemas.microsoft.com/office/drawing/2014/main" id="{0731D363-EF78-44C6-8ACE-46AC66811586}"/>
              </a:ext>
            </a:extLst>
          </p:cNvPr>
          <p:cNvSpPr txBox="1"/>
          <p:nvPr/>
        </p:nvSpPr>
        <p:spPr>
          <a:xfrm>
            <a:off x="1552251" y="3358842"/>
            <a:ext cx="2167493" cy="369332"/>
          </a:xfrm>
          <a:prstGeom prst="rect">
            <a:avLst/>
          </a:prstGeom>
          <a:solidFill>
            <a:schemeClr val="bg1"/>
          </a:solidFill>
        </p:spPr>
        <p:txBody>
          <a:bodyPr wrap="square" rtlCol="0">
            <a:spAutoFit/>
          </a:bodyPr>
          <a:lstStyle/>
          <a:p>
            <a:r>
              <a:rPr lang="en-GB" dirty="0"/>
              <a:t>Treasury Department</a:t>
            </a:r>
            <a:endParaRPr lang="en-NL" dirty="0"/>
          </a:p>
        </p:txBody>
      </p:sp>
      <p:sp>
        <p:nvSpPr>
          <p:cNvPr id="3" name="TextBox 2">
            <a:extLst>
              <a:ext uri="{FF2B5EF4-FFF2-40B4-BE49-F238E27FC236}">
                <a16:creationId xmlns:a16="http://schemas.microsoft.com/office/drawing/2014/main" id="{DB9E73A9-A0A4-C806-F42F-58CB910E438C}"/>
              </a:ext>
            </a:extLst>
          </p:cNvPr>
          <p:cNvSpPr txBox="1"/>
          <p:nvPr/>
        </p:nvSpPr>
        <p:spPr>
          <a:xfrm>
            <a:off x="5814520" y="5810682"/>
            <a:ext cx="3063152" cy="369332"/>
          </a:xfrm>
          <a:prstGeom prst="rect">
            <a:avLst/>
          </a:prstGeom>
          <a:solidFill>
            <a:schemeClr val="bg1"/>
          </a:solidFill>
        </p:spPr>
        <p:txBody>
          <a:bodyPr wrap="square" rtlCol="0">
            <a:spAutoFit/>
          </a:bodyPr>
          <a:lstStyle/>
          <a:p>
            <a:r>
              <a:rPr lang="en-GB" dirty="0"/>
              <a:t>liquidity or interest rate shock</a:t>
            </a:r>
            <a:endParaRPr lang="en-NL" dirty="0"/>
          </a:p>
        </p:txBody>
      </p:sp>
    </p:spTree>
    <p:extLst>
      <p:ext uri="{BB962C8B-B14F-4D97-AF65-F5344CB8AC3E}">
        <p14:creationId xmlns:p14="http://schemas.microsoft.com/office/powerpoint/2010/main" val="36685687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42</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General rule of FTP</a:t>
            </a:r>
            <a:endParaRPr lang="en-US" sz="2500" b="1" kern="0" dirty="0">
              <a:solidFill>
                <a:srgbClr val="1F4E79"/>
              </a:solidFill>
              <a:latin typeface="SB Sans Display" panose="020B0503040504020204" pitchFamily="34" charset="0"/>
              <a:ea typeface="等线" panose="02010600030101010101" pitchFamily="2" charset="-122"/>
            </a:endParaRPr>
          </a:p>
        </p:txBody>
      </p:sp>
      <p:sp>
        <p:nvSpPr>
          <p:cNvPr id="3" name="TextBox 2">
            <a:extLst>
              <a:ext uri="{FF2B5EF4-FFF2-40B4-BE49-F238E27FC236}">
                <a16:creationId xmlns:a16="http://schemas.microsoft.com/office/drawing/2014/main" id="{E6C42D6E-CFFE-B727-ED26-0748BE613269}"/>
              </a:ext>
            </a:extLst>
          </p:cNvPr>
          <p:cNvSpPr txBox="1"/>
          <p:nvPr/>
        </p:nvSpPr>
        <p:spPr>
          <a:xfrm>
            <a:off x="472911" y="2205873"/>
            <a:ext cx="11246177" cy="1631216"/>
          </a:xfrm>
          <a:prstGeom prst="rect">
            <a:avLst/>
          </a:prstGeom>
          <a:noFill/>
        </p:spPr>
        <p:txBody>
          <a:bodyPr wrap="square" rtlCol="0">
            <a:spAutoFit/>
          </a:bodyPr>
          <a:lstStyle/>
          <a:p>
            <a:r>
              <a:rPr lang="en-US" sz="5000" dirty="0"/>
              <a:t>The correct FTP is reached if asset and liability originators are equally unsatisfied</a:t>
            </a:r>
            <a:endParaRPr lang="en-NL" sz="5000" dirty="0"/>
          </a:p>
        </p:txBody>
      </p:sp>
    </p:spTree>
    <p:extLst>
      <p:ext uri="{BB962C8B-B14F-4D97-AF65-F5344CB8AC3E}">
        <p14:creationId xmlns:p14="http://schemas.microsoft.com/office/powerpoint/2010/main" val="5074777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43</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FTP construction – easy approach (1/2)</a:t>
            </a:r>
            <a:endParaRPr lang="en-US" sz="2500" b="1" kern="0" dirty="0">
              <a:solidFill>
                <a:srgbClr val="1F4E79"/>
              </a:solidFill>
              <a:latin typeface="SB Sans Display" panose="020B0503040504020204" pitchFamily="34" charset="0"/>
              <a:ea typeface="等线" panose="02010600030101010101" pitchFamily="2" charset="-122"/>
            </a:endParaRPr>
          </a:p>
        </p:txBody>
      </p:sp>
      <p:sp>
        <p:nvSpPr>
          <p:cNvPr id="3" name="TextBox 2">
            <a:extLst>
              <a:ext uri="{FF2B5EF4-FFF2-40B4-BE49-F238E27FC236}">
                <a16:creationId xmlns:a16="http://schemas.microsoft.com/office/drawing/2014/main" id="{799FEC2B-CF67-AFD4-D2C1-5FEB03E68CCB}"/>
              </a:ext>
            </a:extLst>
          </p:cNvPr>
          <p:cNvSpPr txBox="1"/>
          <p:nvPr/>
        </p:nvSpPr>
        <p:spPr>
          <a:xfrm>
            <a:off x="838200" y="4925720"/>
            <a:ext cx="11353800" cy="1477328"/>
          </a:xfrm>
          <a:prstGeom prst="rect">
            <a:avLst/>
          </a:prstGeom>
          <a:noFill/>
        </p:spPr>
        <p:txBody>
          <a:bodyPr wrap="square" rtlCol="0">
            <a:spAutoFit/>
          </a:bodyPr>
          <a:lstStyle/>
          <a:p>
            <a:r>
              <a:rPr lang="en-US" dirty="0"/>
              <a:t>Drawbacks?</a:t>
            </a:r>
          </a:p>
          <a:p>
            <a:r>
              <a:rPr lang="en-US" dirty="0"/>
              <a:t>Market interest rate curve (= equilibrium price) is neglected = reality is neglected, as a consequence:</a:t>
            </a:r>
          </a:p>
          <a:p>
            <a:pPr marL="342900" indent="-342900">
              <a:buFont typeface="Arial" panose="020B0604020202020204" pitchFamily="34" charset="0"/>
              <a:buChar char="•"/>
            </a:pPr>
            <a:r>
              <a:rPr lang="en-US" dirty="0"/>
              <a:t>Business does not originate profitable* assets (red area) and originates not profitable* assets (black area)</a:t>
            </a:r>
          </a:p>
          <a:p>
            <a:pPr marL="342900" indent="-342900">
              <a:buFont typeface="Arial" panose="020B0604020202020204" pitchFamily="34" charset="0"/>
              <a:buChar char="•"/>
            </a:pPr>
            <a:r>
              <a:rPr lang="en-US" dirty="0"/>
              <a:t>Business does not originate profitable* liabilities (black area) and originates not profitable* liabilities (red area)</a:t>
            </a:r>
          </a:p>
          <a:p>
            <a:pPr marL="342900" indent="-342900">
              <a:buFont typeface="Arial" panose="020B0604020202020204" pitchFamily="34" charset="0"/>
              <a:buChar char="•"/>
            </a:pPr>
            <a:r>
              <a:rPr lang="en-US" dirty="0"/>
              <a:t>Business is stimulated to originate short deposits and long assets</a:t>
            </a:r>
          </a:p>
        </p:txBody>
      </p:sp>
      <p:graphicFrame>
        <p:nvGraphicFramePr>
          <p:cNvPr id="6" name="Chart 5">
            <a:extLst>
              <a:ext uri="{FF2B5EF4-FFF2-40B4-BE49-F238E27FC236}">
                <a16:creationId xmlns:a16="http://schemas.microsoft.com/office/drawing/2014/main" id="{FB8C3C90-E4E7-5104-1963-E01B545F4080}"/>
              </a:ext>
            </a:extLst>
          </p:cNvPr>
          <p:cNvGraphicFramePr>
            <a:graphicFrameLocks/>
          </p:cNvGraphicFramePr>
          <p:nvPr>
            <p:extLst>
              <p:ext uri="{D42A27DB-BD31-4B8C-83A1-F6EECF244321}">
                <p14:modId xmlns:p14="http://schemas.microsoft.com/office/powerpoint/2010/main" val="208319142"/>
              </p:ext>
            </p:extLst>
          </p:nvPr>
        </p:nvGraphicFramePr>
        <p:xfrm>
          <a:off x="947315" y="1989664"/>
          <a:ext cx="9212083" cy="3028950"/>
        </p:xfrm>
        <a:graphic>
          <a:graphicData uri="http://schemas.openxmlformats.org/drawingml/2006/chart">
            <c:chart xmlns:c="http://schemas.openxmlformats.org/drawingml/2006/chart" xmlns:r="http://schemas.openxmlformats.org/officeDocument/2006/relationships" r:id="rId2"/>
          </a:graphicData>
        </a:graphic>
      </p:graphicFrame>
      <p:sp>
        <p:nvSpPr>
          <p:cNvPr id="7" name="Oval 6">
            <a:extLst>
              <a:ext uri="{FF2B5EF4-FFF2-40B4-BE49-F238E27FC236}">
                <a16:creationId xmlns:a16="http://schemas.microsoft.com/office/drawing/2014/main" id="{CB537DF0-2C56-FAB1-4735-FE84E6143B55}"/>
              </a:ext>
            </a:extLst>
          </p:cNvPr>
          <p:cNvSpPr/>
          <p:nvPr/>
        </p:nvSpPr>
        <p:spPr>
          <a:xfrm>
            <a:off x="1677971" y="3242822"/>
            <a:ext cx="2535810" cy="452487"/>
          </a:xfrm>
          <a:prstGeom prst="ellipse">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8" name="Oval 7">
            <a:extLst>
              <a:ext uri="{FF2B5EF4-FFF2-40B4-BE49-F238E27FC236}">
                <a16:creationId xmlns:a16="http://schemas.microsoft.com/office/drawing/2014/main" id="{72EA6943-2A64-55C9-8B2E-AEB90109CCCB}"/>
              </a:ext>
            </a:extLst>
          </p:cNvPr>
          <p:cNvSpPr/>
          <p:nvPr/>
        </p:nvSpPr>
        <p:spPr>
          <a:xfrm>
            <a:off x="7145517" y="2724032"/>
            <a:ext cx="1896358" cy="518790"/>
          </a:xfrm>
          <a:prstGeom prst="ellipse">
            <a:avLst/>
          </a:prstGeom>
          <a:noFill/>
          <a:ln w="19050">
            <a:solidFill>
              <a:schemeClr val="tx1">
                <a:lumMod val="95000"/>
                <a:lumOff val="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9" name="Oval 8">
            <a:extLst>
              <a:ext uri="{FF2B5EF4-FFF2-40B4-BE49-F238E27FC236}">
                <a16:creationId xmlns:a16="http://schemas.microsoft.com/office/drawing/2014/main" id="{DB2F9749-4F12-033E-0E64-F0FAA3D570BE}"/>
              </a:ext>
            </a:extLst>
          </p:cNvPr>
          <p:cNvSpPr/>
          <p:nvPr/>
        </p:nvSpPr>
        <p:spPr>
          <a:xfrm>
            <a:off x="9856955" y="2464637"/>
            <a:ext cx="302443" cy="259395"/>
          </a:xfrm>
          <a:prstGeom prst="ellipse">
            <a:avLst/>
          </a:prstGeom>
          <a:noFill/>
          <a:ln w="19050">
            <a:solidFill>
              <a:srgbClr val="C0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0" name="TextBox 9">
            <a:extLst>
              <a:ext uri="{FF2B5EF4-FFF2-40B4-BE49-F238E27FC236}">
                <a16:creationId xmlns:a16="http://schemas.microsoft.com/office/drawing/2014/main" id="{5D576874-2D00-2366-A04F-0F3F042ADD75}"/>
              </a:ext>
            </a:extLst>
          </p:cNvPr>
          <p:cNvSpPr txBox="1"/>
          <p:nvPr/>
        </p:nvSpPr>
        <p:spPr>
          <a:xfrm>
            <a:off x="10159398" y="2332724"/>
            <a:ext cx="1814213" cy="523220"/>
          </a:xfrm>
          <a:prstGeom prst="rect">
            <a:avLst/>
          </a:prstGeom>
          <a:noFill/>
        </p:spPr>
        <p:txBody>
          <a:bodyPr wrap="square" rtlCol="0">
            <a:spAutoFit/>
          </a:bodyPr>
          <a:lstStyle/>
          <a:p>
            <a:r>
              <a:rPr lang="en-US" sz="1400" dirty="0"/>
              <a:t>Not originated loans, originated deposits</a:t>
            </a:r>
            <a:endParaRPr lang="en-NL" sz="1400" dirty="0"/>
          </a:p>
        </p:txBody>
      </p:sp>
      <p:sp>
        <p:nvSpPr>
          <p:cNvPr id="11" name="Oval 10">
            <a:extLst>
              <a:ext uri="{FF2B5EF4-FFF2-40B4-BE49-F238E27FC236}">
                <a16:creationId xmlns:a16="http://schemas.microsoft.com/office/drawing/2014/main" id="{8504C119-BEA9-524C-1022-727C4AE30907}"/>
              </a:ext>
            </a:extLst>
          </p:cNvPr>
          <p:cNvSpPr/>
          <p:nvPr/>
        </p:nvSpPr>
        <p:spPr>
          <a:xfrm>
            <a:off x="9856955" y="3035430"/>
            <a:ext cx="302443" cy="259395"/>
          </a:xfrm>
          <a:prstGeom prst="ellipse">
            <a:avLst/>
          </a:prstGeom>
          <a:noFill/>
          <a:ln w="19050">
            <a:solidFill>
              <a:schemeClr val="tx1">
                <a:lumMod val="95000"/>
                <a:lumOff val="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2" name="TextBox 11">
            <a:extLst>
              <a:ext uri="{FF2B5EF4-FFF2-40B4-BE49-F238E27FC236}">
                <a16:creationId xmlns:a16="http://schemas.microsoft.com/office/drawing/2014/main" id="{47F2669B-94AC-24C6-A408-E70BDDD2ED3A}"/>
              </a:ext>
            </a:extLst>
          </p:cNvPr>
          <p:cNvSpPr txBox="1"/>
          <p:nvPr/>
        </p:nvSpPr>
        <p:spPr>
          <a:xfrm>
            <a:off x="10159398" y="2903517"/>
            <a:ext cx="1814213" cy="523220"/>
          </a:xfrm>
          <a:prstGeom prst="rect">
            <a:avLst/>
          </a:prstGeom>
          <a:noFill/>
        </p:spPr>
        <p:txBody>
          <a:bodyPr wrap="square" rtlCol="0">
            <a:spAutoFit/>
          </a:bodyPr>
          <a:lstStyle/>
          <a:p>
            <a:r>
              <a:rPr lang="en-US" sz="1400" dirty="0"/>
              <a:t>Originated loans, not originated deposits</a:t>
            </a:r>
            <a:endParaRPr lang="en-NL" sz="1400" dirty="0"/>
          </a:p>
        </p:txBody>
      </p:sp>
      <p:sp>
        <p:nvSpPr>
          <p:cNvPr id="13" name="TextBox 12">
            <a:extLst>
              <a:ext uri="{FF2B5EF4-FFF2-40B4-BE49-F238E27FC236}">
                <a16:creationId xmlns:a16="http://schemas.microsoft.com/office/drawing/2014/main" id="{5D58D87C-1A2A-7499-C081-34D5F8E8C488}"/>
              </a:ext>
            </a:extLst>
          </p:cNvPr>
          <p:cNvSpPr txBox="1"/>
          <p:nvPr/>
        </p:nvSpPr>
        <p:spPr>
          <a:xfrm>
            <a:off x="947315" y="6396199"/>
            <a:ext cx="3619893" cy="276999"/>
          </a:xfrm>
          <a:prstGeom prst="rect">
            <a:avLst/>
          </a:prstGeom>
          <a:noFill/>
        </p:spPr>
        <p:txBody>
          <a:bodyPr wrap="square" rtlCol="0">
            <a:spAutoFit/>
          </a:bodyPr>
          <a:lstStyle/>
          <a:p>
            <a:r>
              <a:rPr lang="en-US" sz="1200" dirty="0"/>
              <a:t>* In terms of alternative costs</a:t>
            </a:r>
            <a:endParaRPr lang="en-NL" sz="1200" dirty="0"/>
          </a:p>
        </p:txBody>
      </p:sp>
      <p:sp>
        <p:nvSpPr>
          <p:cNvPr id="16" name="TextBox 15">
            <a:extLst>
              <a:ext uri="{FF2B5EF4-FFF2-40B4-BE49-F238E27FC236}">
                <a16:creationId xmlns:a16="http://schemas.microsoft.com/office/drawing/2014/main" id="{78C475F6-4FB8-CD0D-9D36-50D2F655CF94}"/>
              </a:ext>
            </a:extLst>
          </p:cNvPr>
          <p:cNvSpPr txBox="1"/>
          <p:nvPr/>
        </p:nvSpPr>
        <p:spPr>
          <a:xfrm>
            <a:off x="735291" y="968067"/>
            <a:ext cx="10515600" cy="400110"/>
          </a:xfrm>
          <a:prstGeom prst="rect">
            <a:avLst/>
          </a:prstGeom>
          <a:noFill/>
          <a:ln>
            <a:solidFill>
              <a:schemeClr val="accent1"/>
            </a:solidFill>
          </a:ln>
        </p:spPr>
        <p:txBody>
          <a:bodyPr wrap="square" rtlCol="0">
            <a:spAutoFit/>
          </a:bodyPr>
          <a:lstStyle/>
          <a:p>
            <a:r>
              <a:rPr lang="en-US" sz="2000" dirty="0"/>
              <a:t>FTP = average cost of currently available funding </a:t>
            </a:r>
            <a:r>
              <a:rPr lang="en-US" sz="2000"/>
              <a:t>on market</a:t>
            </a:r>
            <a:endParaRPr lang="en-US" sz="2000" dirty="0"/>
          </a:p>
        </p:txBody>
      </p:sp>
    </p:spTree>
    <p:extLst>
      <p:ext uri="{BB962C8B-B14F-4D97-AF65-F5344CB8AC3E}">
        <p14:creationId xmlns:p14="http://schemas.microsoft.com/office/powerpoint/2010/main" val="3050701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44</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FTP construction – easy approach (2/2)</a:t>
            </a:r>
            <a:endParaRPr lang="en-US" sz="2500" b="1" kern="0" dirty="0">
              <a:solidFill>
                <a:srgbClr val="1F4E79"/>
              </a:solidFill>
              <a:latin typeface="SB Sans Display" panose="020B0503040504020204" pitchFamily="34" charset="0"/>
              <a:ea typeface="等线" panose="02010600030101010101" pitchFamily="2" charset="-122"/>
            </a:endParaRPr>
          </a:p>
        </p:txBody>
      </p:sp>
      <p:graphicFrame>
        <p:nvGraphicFramePr>
          <p:cNvPr id="3" name="Chart 2">
            <a:extLst>
              <a:ext uri="{FF2B5EF4-FFF2-40B4-BE49-F238E27FC236}">
                <a16:creationId xmlns:a16="http://schemas.microsoft.com/office/drawing/2014/main" id="{749F503D-81C8-555B-F390-7EC8E6D1A3E2}"/>
              </a:ext>
            </a:extLst>
          </p:cNvPr>
          <p:cNvGraphicFramePr>
            <a:graphicFrameLocks/>
          </p:cNvGraphicFramePr>
          <p:nvPr>
            <p:extLst>
              <p:ext uri="{D42A27DB-BD31-4B8C-83A1-F6EECF244321}">
                <p14:modId xmlns:p14="http://schemas.microsoft.com/office/powerpoint/2010/main" val="3869556449"/>
              </p:ext>
            </p:extLst>
          </p:nvPr>
        </p:nvGraphicFramePr>
        <p:xfrm>
          <a:off x="735291" y="1829981"/>
          <a:ext cx="10515600" cy="2618079"/>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3D4CEF53-7021-30E6-B21C-93F1EECE76C9}"/>
              </a:ext>
            </a:extLst>
          </p:cNvPr>
          <p:cNvSpPr txBox="1"/>
          <p:nvPr/>
        </p:nvSpPr>
        <p:spPr>
          <a:xfrm>
            <a:off x="838200" y="4457488"/>
            <a:ext cx="10515600" cy="1107996"/>
          </a:xfrm>
          <a:prstGeom prst="rect">
            <a:avLst/>
          </a:prstGeom>
          <a:noFill/>
        </p:spPr>
        <p:txBody>
          <a:bodyPr wrap="square" rtlCol="0">
            <a:spAutoFit/>
          </a:bodyPr>
          <a:lstStyle/>
          <a:p>
            <a:r>
              <a:rPr lang="en-US" sz="2200" dirty="0"/>
              <a:t>Drawbacks?</a:t>
            </a:r>
          </a:p>
          <a:p>
            <a:pPr marL="342900" indent="-342900">
              <a:buFont typeface="Arial" panose="020B0604020202020204" pitchFamily="34" charset="0"/>
              <a:buChar char="•"/>
            </a:pPr>
            <a:r>
              <a:rPr lang="en-US" sz="2200" dirty="0"/>
              <a:t>Liability originators will be demotivated to continue operations if the level of interest rates significantly increase, loan originators will receive unfair bust in PL</a:t>
            </a:r>
          </a:p>
        </p:txBody>
      </p:sp>
      <p:sp>
        <p:nvSpPr>
          <p:cNvPr id="6" name="TextBox 5">
            <a:extLst>
              <a:ext uri="{FF2B5EF4-FFF2-40B4-BE49-F238E27FC236}">
                <a16:creationId xmlns:a16="http://schemas.microsoft.com/office/drawing/2014/main" id="{F9DFA3C5-1578-A196-BDBA-ED3D79BF331D}"/>
              </a:ext>
            </a:extLst>
          </p:cNvPr>
          <p:cNvSpPr txBox="1"/>
          <p:nvPr/>
        </p:nvSpPr>
        <p:spPr>
          <a:xfrm>
            <a:off x="735291" y="968067"/>
            <a:ext cx="10515600" cy="707886"/>
          </a:xfrm>
          <a:prstGeom prst="rect">
            <a:avLst/>
          </a:prstGeom>
          <a:noFill/>
          <a:ln>
            <a:solidFill>
              <a:schemeClr val="accent1"/>
            </a:solidFill>
          </a:ln>
        </p:spPr>
        <p:txBody>
          <a:bodyPr wrap="square" rtlCol="0">
            <a:spAutoFit/>
          </a:bodyPr>
          <a:lstStyle/>
          <a:p>
            <a:r>
              <a:rPr lang="en-US" sz="2000" dirty="0"/>
              <a:t>FTP = Weighted average (interest-bearing assets; interest-bearing liabilities) based on tenors and currencies</a:t>
            </a:r>
          </a:p>
        </p:txBody>
      </p:sp>
    </p:spTree>
    <p:extLst>
      <p:ext uri="{BB962C8B-B14F-4D97-AF65-F5344CB8AC3E}">
        <p14:creationId xmlns:p14="http://schemas.microsoft.com/office/powerpoint/2010/main" val="33692797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45</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8" y="213126"/>
            <a:ext cx="10971841"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Principle 1 - FTP should reflect the factual cost of funds attracted by bank</a:t>
            </a:r>
            <a:endParaRPr lang="en-US" sz="2500" b="1" kern="0" dirty="0">
              <a:solidFill>
                <a:srgbClr val="1F4E79"/>
              </a:solidFill>
              <a:latin typeface="SB Sans Display" panose="020B0503040504020204" pitchFamily="34" charset="0"/>
              <a:ea typeface="等线" panose="02010600030101010101" pitchFamily="2" charset="-122"/>
            </a:endParaRPr>
          </a:p>
        </p:txBody>
      </p:sp>
      <p:sp>
        <p:nvSpPr>
          <p:cNvPr id="4" name="TextBox 3">
            <a:extLst>
              <a:ext uri="{FF2B5EF4-FFF2-40B4-BE49-F238E27FC236}">
                <a16:creationId xmlns:a16="http://schemas.microsoft.com/office/drawing/2014/main" id="{F3FC11F7-4389-FD87-68D7-2BA322BB672C}"/>
              </a:ext>
            </a:extLst>
          </p:cNvPr>
          <p:cNvSpPr txBox="1"/>
          <p:nvPr/>
        </p:nvSpPr>
        <p:spPr>
          <a:xfrm>
            <a:off x="7464458" y="1213307"/>
            <a:ext cx="4564144" cy="2862322"/>
          </a:xfrm>
          <a:prstGeom prst="rect">
            <a:avLst/>
          </a:prstGeom>
          <a:noFill/>
          <a:ln>
            <a:noFill/>
          </a:ln>
        </p:spPr>
        <p:txBody>
          <a:bodyPr wrap="square" rtlCol="0">
            <a:spAutoFit/>
          </a:bodyPr>
          <a:lstStyle/>
          <a:p>
            <a:r>
              <a:rPr lang="en-US" sz="2000" dirty="0"/>
              <a:t>Assumptions:</a:t>
            </a:r>
          </a:p>
          <a:p>
            <a:r>
              <a:rPr lang="en-US" sz="2000" dirty="0"/>
              <a:t>- The supply of the instruments should be enough to fund its operations</a:t>
            </a:r>
          </a:p>
          <a:p>
            <a:r>
              <a:rPr lang="en-US" sz="2000" dirty="0"/>
              <a:t>- Different for different currencies</a:t>
            </a:r>
          </a:p>
          <a:p>
            <a:r>
              <a:rPr lang="en-US" sz="2000" dirty="0"/>
              <a:t>- Cost of </a:t>
            </a:r>
            <a:r>
              <a:rPr lang="en-US" sz="2000" dirty="0" err="1"/>
              <a:t>Optionalities</a:t>
            </a:r>
            <a:r>
              <a:rPr lang="en-US" sz="2000" dirty="0"/>
              <a:t> included</a:t>
            </a:r>
          </a:p>
          <a:p>
            <a:r>
              <a:rPr lang="en-US" sz="2000" dirty="0"/>
              <a:t>- Other costs included (reserve requirements and deposit insurance payment)</a:t>
            </a:r>
          </a:p>
          <a:p>
            <a:endParaRPr lang="en-US" sz="2000" dirty="0"/>
          </a:p>
        </p:txBody>
      </p:sp>
      <p:pic>
        <p:nvPicPr>
          <p:cNvPr id="7" name="Picture 6">
            <a:extLst>
              <a:ext uri="{FF2B5EF4-FFF2-40B4-BE49-F238E27FC236}">
                <a16:creationId xmlns:a16="http://schemas.microsoft.com/office/drawing/2014/main" id="{C3CD989C-9B31-5294-1A74-BF5F573C47DA}"/>
              </a:ext>
            </a:extLst>
          </p:cNvPr>
          <p:cNvPicPr>
            <a:picLocks noChangeAspect="1"/>
          </p:cNvPicPr>
          <p:nvPr/>
        </p:nvPicPr>
        <p:blipFill>
          <a:blip r:embed="rId2"/>
          <a:stretch>
            <a:fillRect/>
          </a:stretch>
        </p:blipFill>
        <p:spPr>
          <a:xfrm>
            <a:off x="425780" y="942975"/>
            <a:ext cx="6953250" cy="4972050"/>
          </a:xfrm>
          <a:prstGeom prst="rect">
            <a:avLst/>
          </a:prstGeom>
        </p:spPr>
      </p:pic>
      <p:sp>
        <p:nvSpPr>
          <p:cNvPr id="8" name="TextBox 7">
            <a:extLst>
              <a:ext uri="{FF2B5EF4-FFF2-40B4-BE49-F238E27FC236}">
                <a16:creationId xmlns:a16="http://schemas.microsoft.com/office/drawing/2014/main" id="{CED36A94-2A1B-92BF-60BC-84B5F178D9B3}"/>
              </a:ext>
            </a:extLst>
          </p:cNvPr>
          <p:cNvSpPr txBox="1"/>
          <p:nvPr/>
        </p:nvSpPr>
        <p:spPr>
          <a:xfrm>
            <a:off x="1376314" y="3375343"/>
            <a:ext cx="1093509" cy="276999"/>
          </a:xfrm>
          <a:prstGeom prst="rect">
            <a:avLst/>
          </a:prstGeom>
          <a:noFill/>
        </p:spPr>
        <p:txBody>
          <a:bodyPr wrap="square" rtlCol="0">
            <a:spAutoFit/>
          </a:bodyPr>
          <a:lstStyle/>
          <a:p>
            <a:r>
              <a:rPr lang="en-US" sz="1200" dirty="0">
                <a:solidFill>
                  <a:schemeClr val="bg1"/>
                </a:solidFill>
              </a:rPr>
              <a:t>Interbank</a:t>
            </a:r>
            <a:endParaRPr lang="en-NL" sz="1200" dirty="0">
              <a:solidFill>
                <a:schemeClr val="bg1"/>
              </a:solidFill>
            </a:endParaRPr>
          </a:p>
        </p:txBody>
      </p:sp>
      <p:sp>
        <p:nvSpPr>
          <p:cNvPr id="9" name="TextBox 8">
            <a:extLst>
              <a:ext uri="{FF2B5EF4-FFF2-40B4-BE49-F238E27FC236}">
                <a16:creationId xmlns:a16="http://schemas.microsoft.com/office/drawing/2014/main" id="{AE8F7173-697A-28B5-0FD7-C04595058490}"/>
              </a:ext>
            </a:extLst>
          </p:cNvPr>
          <p:cNvSpPr txBox="1"/>
          <p:nvPr/>
        </p:nvSpPr>
        <p:spPr>
          <a:xfrm>
            <a:off x="2047188" y="4368185"/>
            <a:ext cx="1093509" cy="738664"/>
          </a:xfrm>
          <a:prstGeom prst="rect">
            <a:avLst/>
          </a:prstGeom>
          <a:noFill/>
        </p:spPr>
        <p:txBody>
          <a:bodyPr wrap="square" rtlCol="0">
            <a:spAutoFit/>
          </a:bodyPr>
          <a:lstStyle/>
          <a:p>
            <a:r>
              <a:rPr lang="en-US" sz="1400" dirty="0">
                <a:solidFill>
                  <a:schemeClr val="bg1"/>
                </a:solidFill>
              </a:rPr>
              <a:t>Deposits of corporate Clients</a:t>
            </a:r>
            <a:endParaRPr lang="en-NL" sz="1400" dirty="0">
              <a:solidFill>
                <a:schemeClr val="bg1"/>
              </a:solidFill>
            </a:endParaRPr>
          </a:p>
        </p:txBody>
      </p:sp>
      <p:sp>
        <p:nvSpPr>
          <p:cNvPr id="10" name="TextBox 9">
            <a:extLst>
              <a:ext uri="{FF2B5EF4-FFF2-40B4-BE49-F238E27FC236}">
                <a16:creationId xmlns:a16="http://schemas.microsoft.com/office/drawing/2014/main" id="{F91D739C-F102-6C96-6AE6-8BE3084D218D}"/>
              </a:ext>
            </a:extLst>
          </p:cNvPr>
          <p:cNvSpPr txBox="1"/>
          <p:nvPr/>
        </p:nvSpPr>
        <p:spPr>
          <a:xfrm>
            <a:off x="3528767" y="3006011"/>
            <a:ext cx="1093509" cy="523220"/>
          </a:xfrm>
          <a:prstGeom prst="rect">
            <a:avLst/>
          </a:prstGeom>
          <a:noFill/>
        </p:spPr>
        <p:txBody>
          <a:bodyPr wrap="square" rtlCol="0">
            <a:spAutoFit/>
          </a:bodyPr>
          <a:lstStyle/>
          <a:p>
            <a:r>
              <a:rPr lang="en-US" sz="1400" dirty="0">
                <a:solidFill>
                  <a:schemeClr val="bg1"/>
                </a:solidFill>
              </a:rPr>
              <a:t>Deposits of retail Clients</a:t>
            </a:r>
            <a:endParaRPr lang="en-NL" sz="1400" dirty="0">
              <a:solidFill>
                <a:schemeClr val="bg1"/>
              </a:solidFill>
            </a:endParaRPr>
          </a:p>
        </p:txBody>
      </p:sp>
      <p:sp>
        <p:nvSpPr>
          <p:cNvPr id="11" name="TextBox 10">
            <a:extLst>
              <a:ext uri="{FF2B5EF4-FFF2-40B4-BE49-F238E27FC236}">
                <a16:creationId xmlns:a16="http://schemas.microsoft.com/office/drawing/2014/main" id="{01B06DAC-BDA3-BBB7-A725-79AEDDD08B87}"/>
              </a:ext>
            </a:extLst>
          </p:cNvPr>
          <p:cNvSpPr txBox="1"/>
          <p:nvPr/>
        </p:nvSpPr>
        <p:spPr>
          <a:xfrm>
            <a:off x="5312004" y="3641624"/>
            <a:ext cx="1258478" cy="523220"/>
          </a:xfrm>
          <a:prstGeom prst="rect">
            <a:avLst/>
          </a:prstGeom>
          <a:noFill/>
        </p:spPr>
        <p:txBody>
          <a:bodyPr wrap="square" rtlCol="0">
            <a:spAutoFit/>
          </a:bodyPr>
          <a:lstStyle/>
          <a:p>
            <a:r>
              <a:rPr lang="en-US" sz="1400" dirty="0"/>
              <a:t>Subordinated loans</a:t>
            </a:r>
            <a:endParaRPr lang="en-NL" sz="1400" dirty="0"/>
          </a:p>
        </p:txBody>
      </p:sp>
      <p:sp>
        <p:nvSpPr>
          <p:cNvPr id="12" name="TextBox 11">
            <a:extLst>
              <a:ext uri="{FF2B5EF4-FFF2-40B4-BE49-F238E27FC236}">
                <a16:creationId xmlns:a16="http://schemas.microsoft.com/office/drawing/2014/main" id="{A5AC931C-5E67-9EE3-62BE-F570BEF88F37}"/>
              </a:ext>
            </a:extLst>
          </p:cNvPr>
          <p:cNvSpPr txBox="1"/>
          <p:nvPr/>
        </p:nvSpPr>
        <p:spPr>
          <a:xfrm>
            <a:off x="5624660" y="4516714"/>
            <a:ext cx="1360602" cy="523220"/>
          </a:xfrm>
          <a:prstGeom prst="rect">
            <a:avLst/>
          </a:prstGeom>
          <a:noFill/>
        </p:spPr>
        <p:txBody>
          <a:bodyPr wrap="square" rtlCol="0">
            <a:spAutoFit/>
          </a:bodyPr>
          <a:lstStyle/>
          <a:p>
            <a:r>
              <a:rPr lang="en-US" sz="1400" dirty="0">
                <a:solidFill>
                  <a:schemeClr val="bg1"/>
                </a:solidFill>
              </a:rPr>
              <a:t>Debt securities issued</a:t>
            </a:r>
            <a:endParaRPr lang="en-NL" sz="1400" dirty="0">
              <a:solidFill>
                <a:schemeClr val="bg1"/>
              </a:solidFill>
            </a:endParaRPr>
          </a:p>
        </p:txBody>
      </p:sp>
    </p:spTree>
    <p:extLst>
      <p:ext uri="{BB962C8B-B14F-4D97-AF65-F5344CB8AC3E}">
        <p14:creationId xmlns:p14="http://schemas.microsoft.com/office/powerpoint/2010/main" val="15067734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46</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11307278"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Principle 2 - FTP curve should be continuous</a:t>
            </a:r>
            <a:endParaRPr lang="en-US" sz="2500" b="1" kern="0" dirty="0">
              <a:solidFill>
                <a:srgbClr val="1F4E79"/>
              </a:solidFill>
              <a:latin typeface="SB Sans Display" panose="020B0503040504020204" pitchFamily="34" charset="0"/>
              <a:ea typeface="等线" panose="02010600030101010101" pitchFamily="2" charset="-122"/>
            </a:endParaRPr>
          </a:p>
        </p:txBody>
      </p:sp>
      <p:graphicFrame>
        <p:nvGraphicFramePr>
          <p:cNvPr id="4" name="Chart 3">
            <a:extLst>
              <a:ext uri="{FF2B5EF4-FFF2-40B4-BE49-F238E27FC236}">
                <a16:creationId xmlns:a16="http://schemas.microsoft.com/office/drawing/2014/main" id="{C8C5817E-D605-A8B6-72E4-90CB4A721C54}"/>
              </a:ext>
            </a:extLst>
          </p:cNvPr>
          <p:cNvGraphicFramePr>
            <a:graphicFrameLocks/>
          </p:cNvGraphicFramePr>
          <p:nvPr>
            <p:extLst>
              <p:ext uri="{D42A27DB-BD31-4B8C-83A1-F6EECF244321}">
                <p14:modId xmlns:p14="http://schemas.microsoft.com/office/powerpoint/2010/main" val="500599217"/>
              </p:ext>
            </p:extLst>
          </p:nvPr>
        </p:nvGraphicFramePr>
        <p:xfrm>
          <a:off x="381959" y="1066133"/>
          <a:ext cx="7348020" cy="4995302"/>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C48FDFFD-03A4-C48E-D28F-C9FED01E1D5A}"/>
              </a:ext>
            </a:extLst>
          </p:cNvPr>
          <p:cNvSpPr txBox="1"/>
          <p:nvPr/>
        </p:nvSpPr>
        <p:spPr>
          <a:xfrm>
            <a:off x="7729978" y="1034196"/>
            <a:ext cx="4298623" cy="5016758"/>
          </a:xfrm>
          <a:prstGeom prst="rect">
            <a:avLst/>
          </a:prstGeom>
          <a:noFill/>
          <a:ln>
            <a:noFill/>
          </a:ln>
        </p:spPr>
        <p:txBody>
          <a:bodyPr wrap="square" rtlCol="0">
            <a:spAutoFit/>
          </a:bodyPr>
          <a:lstStyle/>
          <a:p>
            <a:pPr marL="342900" indent="-342900">
              <a:buFont typeface="Arial" panose="020B0604020202020204" pitchFamily="34" charset="0"/>
              <a:buChar char="•"/>
            </a:pPr>
            <a:r>
              <a:rPr lang="en-US" sz="2000" dirty="0"/>
              <a:t>If factual cost of fund are not covering some tenors, FTP for this tenors can be derived from market instruments + risk spread</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a:t>If we need to form FTP for non liquid foreign currency we can use risk free rate of this currency adjusted on: </a:t>
            </a:r>
          </a:p>
          <a:p>
            <a:pPr marL="800100" lvl="1" indent="-342900">
              <a:buFont typeface="Wingdings" panose="05000000000000000000" pitchFamily="2" charset="2"/>
              <a:buChar char="Ø"/>
            </a:pPr>
            <a:r>
              <a:rPr lang="en-US" sz="2000" dirty="0"/>
              <a:t>Relative risk spread of our bank (based on FTP curve vs risk free rate in other currency)</a:t>
            </a:r>
          </a:p>
          <a:p>
            <a:pPr marL="800100" lvl="1" indent="-342900">
              <a:buFont typeface="Wingdings" panose="05000000000000000000" pitchFamily="2" charset="2"/>
              <a:buChar char="Ø"/>
            </a:pPr>
            <a:r>
              <a:rPr lang="en-US" sz="2000" dirty="0"/>
              <a:t>Shape of curve on other currency</a:t>
            </a:r>
          </a:p>
          <a:p>
            <a:pPr marL="800100" lvl="1" indent="-342900">
              <a:buFont typeface="Wingdings" panose="05000000000000000000" pitchFamily="2" charset="2"/>
              <a:buChar char="Ø"/>
            </a:pPr>
            <a:r>
              <a:rPr lang="en-US" sz="2000" dirty="0"/>
              <a:t>Expert adjustments taking into account macroeconomics</a:t>
            </a:r>
          </a:p>
        </p:txBody>
      </p:sp>
      <p:sp>
        <p:nvSpPr>
          <p:cNvPr id="8" name="TextBox 7">
            <a:extLst>
              <a:ext uri="{FF2B5EF4-FFF2-40B4-BE49-F238E27FC236}">
                <a16:creationId xmlns:a16="http://schemas.microsoft.com/office/drawing/2014/main" id="{935A407E-9175-D469-AD30-CD99AA0B5470}"/>
              </a:ext>
            </a:extLst>
          </p:cNvPr>
          <p:cNvSpPr txBox="1"/>
          <p:nvPr/>
        </p:nvSpPr>
        <p:spPr>
          <a:xfrm>
            <a:off x="4317477" y="2856321"/>
            <a:ext cx="810705" cy="461665"/>
          </a:xfrm>
          <a:prstGeom prst="rect">
            <a:avLst/>
          </a:prstGeom>
          <a:noFill/>
        </p:spPr>
        <p:txBody>
          <a:bodyPr wrap="square" rtlCol="0">
            <a:spAutoFit/>
          </a:bodyPr>
          <a:lstStyle/>
          <a:p>
            <a:r>
              <a:rPr lang="en-US" sz="1200" dirty="0"/>
              <a:t>Risk spread</a:t>
            </a:r>
            <a:endParaRPr lang="en-NL" sz="1200" dirty="0"/>
          </a:p>
        </p:txBody>
      </p:sp>
      <p:cxnSp>
        <p:nvCxnSpPr>
          <p:cNvPr id="10" name="Straight Connector 9">
            <a:extLst>
              <a:ext uri="{FF2B5EF4-FFF2-40B4-BE49-F238E27FC236}">
                <a16:creationId xmlns:a16="http://schemas.microsoft.com/office/drawing/2014/main" id="{003A6042-C5DD-45C7-9C1D-DB54A46D95DC}"/>
              </a:ext>
            </a:extLst>
          </p:cNvPr>
          <p:cNvCxnSpPr/>
          <p:nvPr/>
        </p:nvCxnSpPr>
        <p:spPr>
          <a:xfrm flipV="1">
            <a:off x="4751109" y="2837468"/>
            <a:ext cx="179110" cy="17910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48759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47</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11467534"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Principle 3 – FTP should take into account current liquidity position of the bank</a:t>
            </a:r>
            <a:endParaRPr lang="en-US" sz="2500" b="1" kern="0" dirty="0">
              <a:solidFill>
                <a:srgbClr val="1F4E79"/>
              </a:solidFill>
              <a:latin typeface="SB Sans Display" panose="020B0503040504020204" pitchFamily="34" charset="0"/>
              <a:ea typeface="等线" panose="02010600030101010101" pitchFamily="2" charset="-122"/>
            </a:endParaRPr>
          </a:p>
        </p:txBody>
      </p:sp>
      <p:graphicFrame>
        <p:nvGraphicFramePr>
          <p:cNvPr id="4" name="Chart 3">
            <a:extLst>
              <a:ext uri="{FF2B5EF4-FFF2-40B4-BE49-F238E27FC236}">
                <a16:creationId xmlns:a16="http://schemas.microsoft.com/office/drawing/2014/main" id="{B159A224-8179-C8AB-CAE9-8339C6F657DD}"/>
              </a:ext>
            </a:extLst>
          </p:cNvPr>
          <p:cNvGraphicFramePr>
            <a:graphicFrameLocks/>
          </p:cNvGraphicFramePr>
          <p:nvPr>
            <p:extLst>
              <p:ext uri="{D42A27DB-BD31-4B8C-83A1-F6EECF244321}">
                <p14:modId xmlns:p14="http://schemas.microsoft.com/office/powerpoint/2010/main" val="24231682"/>
              </p:ext>
            </p:extLst>
          </p:nvPr>
        </p:nvGraphicFramePr>
        <p:xfrm>
          <a:off x="381958" y="3338722"/>
          <a:ext cx="7420786" cy="330615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id="{AF85494D-3A74-D6D6-345B-A29C0874A7A4}"/>
              </a:ext>
            </a:extLst>
          </p:cNvPr>
          <p:cNvGraphicFramePr>
            <a:graphicFrameLocks/>
          </p:cNvGraphicFramePr>
          <p:nvPr>
            <p:extLst>
              <p:ext uri="{D42A27DB-BD31-4B8C-83A1-F6EECF244321}">
                <p14:modId xmlns:p14="http://schemas.microsoft.com/office/powerpoint/2010/main" val="2548278081"/>
              </p:ext>
            </p:extLst>
          </p:nvPr>
        </p:nvGraphicFramePr>
        <p:xfrm>
          <a:off x="320060" y="963930"/>
          <a:ext cx="7544581" cy="2465070"/>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820D784B-9292-94A1-2B7A-CC4506C2A2C5}"/>
              </a:ext>
            </a:extLst>
          </p:cNvPr>
          <p:cNvSpPr txBox="1"/>
          <p:nvPr/>
        </p:nvSpPr>
        <p:spPr>
          <a:xfrm>
            <a:off x="8117250" y="2738557"/>
            <a:ext cx="3454930" cy="1200329"/>
          </a:xfrm>
          <a:prstGeom prst="rect">
            <a:avLst/>
          </a:prstGeom>
          <a:noFill/>
        </p:spPr>
        <p:txBody>
          <a:bodyPr wrap="square" rtlCol="0">
            <a:spAutoFit/>
          </a:bodyPr>
          <a:lstStyle/>
          <a:p>
            <a:r>
              <a:rPr lang="en-US" sz="2400" dirty="0"/>
              <a:t>How should Bank amend FTP in order to cope with liquidity gap?</a:t>
            </a:r>
            <a:endParaRPr lang="en-NL" sz="2400" dirty="0"/>
          </a:p>
        </p:txBody>
      </p:sp>
      <p:graphicFrame>
        <p:nvGraphicFramePr>
          <p:cNvPr id="3" name="Chart 2">
            <a:extLst>
              <a:ext uri="{FF2B5EF4-FFF2-40B4-BE49-F238E27FC236}">
                <a16:creationId xmlns:a16="http://schemas.microsoft.com/office/drawing/2014/main" id="{83B86BEB-0E7F-C17B-B683-00826E35808E}"/>
              </a:ext>
            </a:extLst>
          </p:cNvPr>
          <p:cNvGraphicFramePr>
            <a:graphicFrameLocks/>
          </p:cNvGraphicFramePr>
          <p:nvPr>
            <p:extLst>
              <p:ext uri="{D42A27DB-BD31-4B8C-83A1-F6EECF244321}">
                <p14:modId xmlns:p14="http://schemas.microsoft.com/office/powerpoint/2010/main" val="945339921"/>
              </p:ext>
            </p:extLst>
          </p:nvPr>
        </p:nvGraphicFramePr>
        <p:xfrm>
          <a:off x="381958" y="3349819"/>
          <a:ext cx="7420786" cy="3306152"/>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Straight Connector 6">
            <a:extLst>
              <a:ext uri="{FF2B5EF4-FFF2-40B4-BE49-F238E27FC236}">
                <a16:creationId xmlns:a16="http://schemas.microsoft.com/office/drawing/2014/main" id="{5097CF43-5BB5-A4D7-B1C0-64B58D5F9976}"/>
              </a:ext>
            </a:extLst>
          </p:cNvPr>
          <p:cNvCxnSpPr/>
          <p:nvPr/>
        </p:nvCxnSpPr>
        <p:spPr>
          <a:xfrm>
            <a:off x="7585435" y="862555"/>
            <a:ext cx="0" cy="5495827"/>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AA8FA6B-E6E7-3145-7334-4883C3782DD4}"/>
              </a:ext>
            </a:extLst>
          </p:cNvPr>
          <p:cNvCxnSpPr/>
          <p:nvPr/>
        </p:nvCxnSpPr>
        <p:spPr>
          <a:xfrm>
            <a:off x="5409517" y="873652"/>
            <a:ext cx="0" cy="5495827"/>
          </a:xfrm>
          <a:prstGeom prst="line">
            <a:avLst/>
          </a:prstGeom>
          <a:ln>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0462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48</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FTP components</a:t>
            </a:r>
            <a:endParaRPr lang="en-US" sz="2500" b="1" kern="0" dirty="0">
              <a:solidFill>
                <a:srgbClr val="1F4E79"/>
              </a:solidFill>
              <a:latin typeface="SB Sans Display" panose="020B0503040504020204" pitchFamily="34" charset="0"/>
              <a:ea typeface="等线" panose="02010600030101010101" pitchFamily="2" charset="-122"/>
            </a:endParaRPr>
          </a:p>
        </p:txBody>
      </p:sp>
      <p:sp>
        <p:nvSpPr>
          <p:cNvPr id="6" name="TextBox 5">
            <a:extLst>
              <a:ext uri="{FF2B5EF4-FFF2-40B4-BE49-F238E27FC236}">
                <a16:creationId xmlns:a16="http://schemas.microsoft.com/office/drawing/2014/main" id="{F8F7B6F6-480C-BC02-9625-3BB8A8392025}"/>
              </a:ext>
            </a:extLst>
          </p:cNvPr>
          <p:cNvSpPr txBox="1"/>
          <p:nvPr/>
        </p:nvSpPr>
        <p:spPr>
          <a:xfrm>
            <a:off x="381959" y="6478901"/>
            <a:ext cx="6094428" cy="276999"/>
          </a:xfrm>
          <a:prstGeom prst="rect">
            <a:avLst/>
          </a:prstGeom>
          <a:noFill/>
        </p:spPr>
        <p:txBody>
          <a:bodyPr wrap="square">
            <a:spAutoFit/>
          </a:bodyPr>
          <a:lstStyle/>
          <a:p>
            <a:r>
              <a:rPr lang="ru-RU" sz="1200" b="1" baseline="30000" dirty="0">
                <a:latin typeface="Arial" panose="020B0604020202020204" pitchFamily="34" charset="0"/>
                <a:cs typeface="Arial" panose="020B0604020202020204" pitchFamily="34" charset="0"/>
              </a:rPr>
              <a:t>1 </a:t>
            </a:r>
            <a:r>
              <a:rPr lang="en-GB" sz="1200" dirty="0">
                <a:latin typeface="Arial" panose="020B0604020202020204" pitchFamily="34" charset="0"/>
                <a:cs typeface="Arial" panose="020B0604020202020204" pitchFamily="34" charset="0"/>
                <a:hlinkClick r:id="rId2"/>
              </a:rPr>
              <a:t>https://cbr.ru/hd_base/zcyc_params/</a:t>
            </a:r>
            <a:r>
              <a:rPr lang="en-GB" sz="1200" dirty="0">
                <a:latin typeface="Arial" panose="020B0604020202020204" pitchFamily="34" charset="0"/>
                <a:cs typeface="Arial" panose="020B0604020202020204" pitchFamily="34" charset="0"/>
              </a:rPr>
              <a:t> </a:t>
            </a:r>
            <a:endParaRPr lang="en-NL" sz="1200" dirty="0"/>
          </a:p>
        </p:txBody>
      </p:sp>
      <p:sp>
        <p:nvSpPr>
          <p:cNvPr id="8" name="TextBox 7">
            <a:extLst>
              <a:ext uri="{FF2B5EF4-FFF2-40B4-BE49-F238E27FC236}">
                <a16:creationId xmlns:a16="http://schemas.microsoft.com/office/drawing/2014/main" id="{F11D3742-CF40-E007-1538-B06A5BE4DF00}"/>
              </a:ext>
            </a:extLst>
          </p:cNvPr>
          <p:cNvSpPr txBox="1"/>
          <p:nvPr/>
        </p:nvSpPr>
        <p:spPr>
          <a:xfrm>
            <a:off x="1508289" y="768279"/>
            <a:ext cx="1913641" cy="669303"/>
          </a:xfrm>
          <a:prstGeom prst="rect">
            <a:avLst/>
          </a:prstGeom>
          <a:noFill/>
          <a:ln>
            <a:solidFill>
              <a:srgbClr val="0070C0"/>
            </a:solidFill>
          </a:ln>
        </p:spPr>
        <p:txBody>
          <a:bodyPr wrap="square" rtlCol="0" anchor="ctr">
            <a:noAutofit/>
          </a:bodyPr>
          <a:lstStyle/>
          <a:p>
            <a:r>
              <a:rPr lang="en-US" dirty="0"/>
              <a:t>Basic component</a:t>
            </a:r>
            <a:endParaRPr lang="en-NL" dirty="0"/>
          </a:p>
        </p:txBody>
      </p:sp>
      <p:sp>
        <p:nvSpPr>
          <p:cNvPr id="9" name="TextBox 8">
            <a:extLst>
              <a:ext uri="{FF2B5EF4-FFF2-40B4-BE49-F238E27FC236}">
                <a16:creationId xmlns:a16="http://schemas.microsoft.com/office/drawing/2014/main" id="{4C313E30-499E-6F2E-FCC6-290F2158277F}"/>
              </a:ext>
            </a:extLst>
          </p:cNvPr>
          <p:cNvSpPr txBox="1"/>
          <p:nvPr/>
        </p:nvSpPr>
        <p:spPr>
          <a:xfrm>
            <a:off x="381960" y="2759697"/>
            <a:ext cx="570148" cy="669303"/>
          </a:xfrm>
          <a:prstGeom prst="rect">
            <a:avLst/>
          </a:prstGeom>
          <a:noFill/>
          <a:ln>
            <a:solidFill>
              <a:srgbClr val="0070C0"/>
            </a:solidFill>
          </a:ln>
        </p:spPr>
        <p:txBody>
          <a:bodyPr wrap="square" rtlCol="0" anchor="ctr">
            <a:noAutofit/>
          </a:bodyPr>
          <a:lstStyle/>
          <a:p>
            <a:r>
              <a:rPr lang="en-US" dirty="0"/>
              <a:t>FTP</a:t>
            </a:r>
            <a:endParaRPr lang="en-NL" dirty="0"/>
          </a:p>
        </p:txBody>
      </p:sp>
      <p:sp>
        <p:nvSpPr>
          <p:cNvPr id="10" name="Plus Sign 9">
            <a:extLst>
              <a:ext uri="{FF2B5EF4-FFF2-40B4-BE49-F238E27FC236}">
                <a16:creationId xmlns:a16="http://schemas.microsoft.com/office/drawing/2014/main" id="{06902B11-2E62-6667-4DA4-588903EA564A}"/>
              </a:ext>
            </a:extLst>
          </p:cNvPr>
          <p:cNvSpPr/>
          <p:nvPr/>
        </p:nvSpPr>
        <p:spPr>
          <a:xfrm>
            <a:off x="2356700" y="1451723"/>
            <a:ext cx="245097" cy="27699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1" name="TextBox 10">
            <a:extLst>
              <a:ext uri="{FF2B5EF4-FFF2-40B4-BE49-F238E27FC236}">
                <a16:creationId xmlns:a16="http://schemas.microsoft.com/office/drawing/2014/main" id="{BAF46B7A-A5FA-3049-5BEB-F797CE535516}"/>
              </a:ext>
            </a:extLst>
          </p:cNvPr>
          <p:cNvSpPr txBox="1"/>
          <p:nvPr/>
        </p:nvSpPr>
        <p:spPr>
          <a:xfrm>
            <a:off x="1508288" y="1736624"/>
            <a:ext cx="1913642" cy="669303"/>
          </a:xfrm>
          <a:prstGeom prst="rect">
            <a:avLst/>
          </a:prstGeom>
          <a:noFill/>
          <a:ln>
            <a:solidFill>
              <a:srgbClr val="0070C0"/>
            </a:solidFill>
          </a:ln>
        </p:spPr>
        <p:txBody>
          <a:bodyPr wrap="square" rtlCol="0" anchor="ctr">
            <a:noAutofit/>
          </a:bodyPr>
          <a:lstStyle/>
          <a:p>
            <a:r>
              <a:rPr lang="en-US" dirty="0">
                <a:solidFill>
                  <a:schemeClr val="bg1">
                    <a:lumMod val="65000"/>
                  </a:schemeClr>
                </a:solidFill>
              </a:rPr>
              <a:t>Behavioral spread</a:t>
            </a:r>
            <a:endParaRPr lang="en-NL" dirty="0">
              <a:solidFill>
                <a:schemeClr val="bg1">
                  <a:lumMod val="65000"/>
                </a:schemeClr>
              </a:solidFill>
            </a:endParaRPr>
          </a:p>
        </p:txBody>
      </p:sp>
      <p:sp>
        <p:nvSpPr>
          <p:cNvPr id="12" name="Plus Sign 11">
            <a:extLst>
              <a:ext uri="{FF2B5EF4-FFF2-40B4-BE49-F238E27FC236}">
                <a16:creationId xmlns:a16="http://schemas.microsoft.com/office/drawing/2014/main" id="{A93478A3-6C9D-A223-9CB7-FD2BD0C93586}"/>
              </a:ext>
            </a:extLst>
          </p:cNvPr>
          <p:cNvSpPr/>
          <p:nvPr/>
        </p:nvSpPr>
        <p:spPr>
          <a:xfrm>
            <a:off x="2356699" y="2420068"/>
            <a:ext cx="245097" cy="27699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3" name="TextBox 12">
            <a:extLst>
              <a:ext uri="{FF2B5EF4-FFF2-40B4-BE49-F238E27FC236}">
                <a16:creationId xmlns:a16="http://schemas.microsoft.com/office/drawing/2014/main" id="{BE519FF1-1A77-0B1C-D0B9-EA4DD1972371}"/>
              </a:ext>
            </a:extLst>
          </p:cNvPr>
          <p:cNvSpPr txBox="1"/>
          <p:nvPr/>
        </p:nvSpPr>
        <p:spPr>
          <a:xfrm>
            <a:off x="3810000" y="768279"/>
            <a:ext cx="6349399" cy="669303"/>
          </a:xfrm>
          <a:prstGeom prst="rect">
            <a:avLst/>
          </a:prstGeom>
          <a:noFill/>
          <a:ln>
            <a:solidFill>
              <a:srgbClr val="0070C0"/>
            </a:solidFill>
          </a:ln>
        </p:spPr>
        <p:txBody>
          <a:bodyPr wrap="square" rtlCol="0" anchor="ctr">
            <a:noAutofit/>
          </a:bodyPr>
          <a:lstStyle/>
          <a:p>
            <a:r>
              <a:rPr lang="en-US" dirty="0"/>
              <a:t>The current level of interest rate: risk-free rate</a:t>
            </a:r>
            <a:r>
              <a:rPr lang="ru-RU" sz="1800" b="1" baseline="30000" dirty="0">
                <a:latin typeface="Arial" panose="020B0604020202020204" pitchFamily="34" charset="0"/>
                <a:cs typeface="Arial" panose="020B0604020202020204" pitchFamily="34" charset="0"/>
              </a:rPr>
              <a:t> 1</a:t>
            </a:r>
            <a:r>
              <a:rPr lang="en-US" dirty="0"/>
              <a:t> + risk spread (for the average bank) or money market indices (Libor/</a:t>
            </a:r>
            <a:r>
              <a:rPr lang="en-US" dirty="0" err="1"/>
              <a:t>Mibor</a:t>
            </a:r>
            <a:r>
              <a:rPr lang="en-US" dirty="0"/>
              <a:t>) or IRS</a:t>
            </a:r>
            <a:endParaRPr lang="en-NL" dirty="0"/>
          </a:p>
        </p:txBody>
      </p:sp>
      <p:sp>
        <p:nvSpPr>
          <p:cNvPr id="14" name="TextBox 13">
            <a:extLst>
              <a:ext uri="{FF2B5EF4-FFF2-40B4-BE49-F238E27FC236}">
                <a16:creationId xmlns:a16="http://schemas.microsoft.com/office/drawing/2014/main" id="{D11DE9F9-0FE8-6B19-637C-295C7F0C2F2A}"/>
              </a:ext>
            </a:extLst>
          </p:cNvPr>
          <p:cNvSpPr txBox="1"/>
          <p:nvPr/>
        </p:nvSpPr>
        <p:spPr>
          <a:xfrm>
            <a:off x="3810001" y="1736623"/>
            <a:ext cx="6349398" cy="669303"/>
          </a:xfrm>
          <a:prstGeom prst="rect">
            <a:avLst/>
          </a:prstGeom>
          <a:noFill/>
          <a:ln>
            <a:solidFill>
              <a:srgbClr val="0070C0"/>
            </a:solidFill>
          </a:ln>
        </p:spPr>
        <p:txBody>
          <a:bodyPr wrap="square" rtlCol="0" anchor="ctr">
            <a:noAutofit/>
          </a:bodyPr>
          <a:lstStyle/>
          <a:p>
            <a:r>
              <a:rPr lang="en-US" dirty="0">
                <a:solidFill>
                  <a:schemeClr val="bg1">
                    <a:lumMod val="65000"/>
                  </a:schemeClr>
                </a:solidFill>
              </a:rPr>
              <a:t>Modeling of shifts of the level in interest rates: </a:t>
            </a:r>
            <a:r>
              <a:rPr lang="en-US" dirty="0" err="1">
                <a:solidFill>
                  <a:schemeClr val="bg1">
                    <a:lumMod val="65000"/>
                  </a:schemeClr>
                </a:solidFill>
              </a:rPr>
              <a:t>Vasicek</a:t>
            </a:r>
            <a:r>
              <a:rPr lang="en-US" dirty="0">
                <a:solidFill>
                  <a:schemeClr val="bg1">
                    <a:lumMod val="65000"/>
                  </a:schemeClr>
                </a:solidFill>
              </a:rPr>
              <a:t>, Hull-White, etc.</a:t>
            </a:r>
            <a:endParaRPr lang="en-NL" dirty="0">
              <a:solidFill>
                <a:schemeClr val="bg1">
                  <a:lumMod val="65000"/>
                </a:schemeClr>
              </a:solidFill>
            </a:endParaRPr>
          </a:p>
        </p:txBody>
      </p:sp>
      <p:sp>
        <p:nvSpPr>
          <p:cNvPr id="15" name="TextBox 14">
            <a:extLst>
              <a:ext uri="{FF2B5EF4-FFF2-40B4-BE49-F238E27FC236}">
                <a16:creationId xmlns:a16="http://schemas.microsoft.com/office/drawing/2014/main" id="{F4296020-F564-77A7-4AFB-B495ED415644}"/>
              </a:ext>
            </a:extLst>
          </p:cNvPr>
          <p:cNvSpPr txBox="1"/>
          <p:nvPr/>
        </p:nvSpPr>
        <p:spPr>
          <a:xfrm>
            <a:off x="1508288" y="2704967"/>
            <a:ext cx="1913642" cy="669303"/>
          </a:xfrm>
          <a:prstGeom prst="rect">
            <a:avLst/>
          </a:prstGeom>
          <a:noFill/>
          <a:ln>
            <a:solidFill>
              <a:srgbClr val="0070C0"/>
            </a:solidFill>
          </a:ln>
        </p:spPr>
        <p:txBody>
          <a:bodyPr wrap="square" rtlCol="0" anchor="ctr">
            <a:noAutofit/>
          </a:bodyPr>
          <a:lstStyle/>
          <a:p>
            <a:r>
              <a:rPr lang="en-US" dirty="0"/>
              <a:t>Current funding structure and cost</a:t>
            </a:r>
            <a:endParaRPr lang="en-NL" dirty="0"/>
          </a:p>
        </p:txBody>
      </p:sp>
      <p:sp>
        <p:nvSpPr>
          <p:cNvPr id="16" name="TextBox 15">
            <a:extLst>
              <a:ext uri="{FF2B5EF4-FFF2-40B4-BE49-F238E27FC236}">
                <a16:creationId xmlns:a16="http://schemas.microsoft.com/office/drawing/2014/main" id="{193F4ADE-0A65-F57E-BC67-EB1EC48C95B4}"/>
              </a:ext>
            </a:extLst>
          </p:cNvPr>
          <p:cNvSpPr txBox="1"/>
          <p:nvPr/>
        </p:nvSpPr>
        <p:spPr>
          <a:xfrm>
            <a:off x="3810001" y="2704966"/>
            <a:ext cx="6349398" cy="669303"/>
          </a:xfrm>
          <a:prstGeom prst="rect">
            <a:avLst/>
          </a:prstGeom>
          <a:noFill/>
          <a:ln>
            <a:solidFill>
              <a:srgbClr val="0070C0"/>
            </a:solidFill>
          </a:ln>
        </p:spPr>
        <p:txBody>
          <a:bodyPr wrap="square" rtlCol="0" anchor="ctr">
            <a:noAutofit/>
          </a:bodyPr>
          <a:lstStyle/>
          <a:p>
            <a:r>
              <a:rPr lang="en-US" sz="1700" dirty="0"/>
              <a:t>Factual cost of funding (incl risk premium of current bank) + adjustment on the current liquidity position of the bank (slides 44, 47)</a:t>
            </a:r>
            <a:endParaRPr lang="en-NL" sz="1700" dirty="0"/>
          </a:p>
        </p:txBody>
      </p:sp>
      <p:sp>
        <p:nvSpPr>
          <p:cNvPr id="17" name="Plus Sign 16">
            <a:extLst>
              <a:ext uri="{FF2B5EF4-FFF2-40B4-BE49-F238E27FC236}">
                <a16:creationId xmlns:a16="http://schemas.microsoft.com/office/drawing/2014/main" id="{C305597E-9E2E-EDF6-59E8-9605794AAA2B}"/>
              </a:ext>
            </a:extLst>
          </p:cNvPr>
          <p:cNvSpPr/>
          <p:nvPr/>
        </p:nvSpPr>
        <p:spPr>
          <a:xfrm>
            <a:off x="2356699" y="3395987"/>
            <a:ext cx="245097" cy="27699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8" name="TextBox 17">
            <a:extLst>
              <a:ext uri="{FF2B5EF4-FFF2-40B4-BE49-F238E27FC236}">
                <a16:creationId xmlns:a16="http://schemas.microsoft.com/office/drawing/2014/main" id="{B18081E6-1A5D-9381-138A-880A4AF120CB}"/>
              </a:ext>
            </a:extLst>
          </p:cNvPr>
          <p:cNvSpPr txBox="1"/>
          <p:nvPr/>
        </p:nvSpPr>
        <p:spPr>
          <a:xfrm>
            <a:off x="1508288" y="3699740"/>
            <a:ext cx="1913642" cy="669303"/>
          </a:xfrm>
          <a:prstGeom prst="rect">
            <a:avLst/>
          </a:prstGeom>
          <a:noFill/>
          <a:ln>
            <a:solidFill>
              <a:srgbClr val="0070C0"/>
            </a:solidFill>
          </a:ln>
        </p:spPr>
        <p:txBody>
          <a:bodyPr wrap="square" rtlCol="0" anchor="ctr">
            <a:noAutofit/>
          </a:bodyPr>
          <a:lstStyle/>
          <a:p>
            <a:r>
              <a:rPr lang="en-US" dirty="0"/>
              <a:t>Regulatory costs</a:t>
            </a:r>
            <a:endParaRPr lang="en-NL" dirty="0"/>
          </a:p>
        </p:txBody>
      </p:sp>
      <p:sp>
        <p:nvSpPr>
          <p:cNvPr id="19" name="TextBox 18">
            <a:extLst>
              <a:ext uri="{FF2B5EF4-FFF2-40B4-BE49-F238E27FC236}">
                <a16:creationId xmlns:a16="http://schemas.microsoft.com/office/drawing/2014/main" id="{494538AF-12C1-B927-2CC4-DF45A4C74607}"/>
              </a:ext>
            </a:extLst>
          </p:cNvPr>
          <p:cNvSpPr txBox="1"/>
          <p:nvPr/>
        </p:nvSpPr>
        <p:spPr>
          <a:xfrm>
            <a:off x="3810001" y="3699739"/>
            <a:ext cx="6349398" cy="669303"/>
          </a:xfrm>
          <a:prstGeom prst="rect">
            <a:avLst/>
          </a:prstGeom>
          <a:noFill/>
          <a:ln>
            <a:solidFill>
              <a:srgbClr val="0070C0"/>
            </a:solidFill>
          </a:ln>
        </p:spPr>
        <p:txBody>
          <a:bodyPr wrap="square" rtlCol="0" anchor="ctr">
            <a:noAutofit/>
          </a:bodyPr>
          <a:lstStyle/>
          <a:p>
            <a:r>
              <a:rPr lang="en-US" dirty="0"/>
              <a:t>Cost of sustaining mandatory liquidity ratios (NSFR, LCR), reserve requirements, deposit insurance</a:t>
            </a:r>
            <a:endParaRPr lang="en-NL" dirty="0"/>
          </a:p>
        </p:txBody>
      </p:sp>
      <p:sp>
        <p:nvSpPr>
          <p:cNvPr id="20" name="Plus Sign 19">
            <a:extLst>
              <a:ext uri="{FF2B5EF4-FFF2-40B4-BE49-F238E27FC236}">
                <a16:creationId xmlns:a16="http://schemas.microsoft.com/office/drawing/2014/main" id="{05FF9D23-6E32-1FE6-88D1-96A5C8688681}"/>
              </a:ext>
            </a:extLst>
          </p:cNvPr>
          <p:cNvSpPr/>
          <p:nvPr/>
        </p:nvSpPr>
        <p:spPr>
          <a:xfrm>
            <a:off x="2356699" y="4364932"/>
            <a:ext cx="245097" cy="27699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1" name="TextBox 20">
            <a:extLst>
              <a:ext uri="{FF2B5EF4-FFF2-40B4-BE49-F238E27FC236}">
                <a16:creationId xmlns:a16="http://schemas.microsoft.com/office/drawing/2014/main" id="{B17FDB00-A216-6486-09ED-8B6F60BF30B7}"/>
              </a:ext>
            </a:extLst>
          </p:cNvPr>
          <p:cNvSpPr txBox="1"/>
          <p:nvPr/>
        </p:nvSpPr>
        <p:spPr>
          <a:xfrm>
            <a:off x="1508288" y="4668685"/>
            <a:ext cx="1913642" cy="669303"/>
          </a:xfrm>
          <a:prstGeom prst="rect">
            <a:avLst/>
          </a:prstGeom>
          <a:noFill/>
          <a:ln>
            <a:solidFill>
              <a:srgbClr val="0070C0"/>
            </a:solidFill>
          </a:ln>
        </p:spPr>
        <p:txBody>
          <a:bodyPr wrap="square" rtlCol="0" anchor="ctr">
            <a:noAutofit/>
          </a:bodyPr>
          <a:lstStyle/>
          <a:p>
            <a:r>
              <a:rPr lang="en-US" dirty="0">
                <a:solidFill>
                  <a:schemeClr val="bg1">
                    <a:lumMod val="65000"/>
                  </a:schemeClr>
                </a:solidFill>
              </a:rPr>
              <a:t>Liquidity stress buffer</a:t>
            </a:r>
            <a:endParaRPr lang="en-NL" dirty="0">
              <a:solidFill>
                <a:schemeClr val="bg1">
                  <a:lumMod val="65000"/>
                </a:schemeClr>
              </a:solidFill>
            </a:endParaRPr>
          </a:p>
        </p:txBody>
      </p:sp>
      <p:sp>
        <p:nvSpPr>
          <p:cNvPr id="22" name="TextBox 21">
            <a:extLst>
              <a:ext uri="{FF2B5EF4-FFF2-40B4-BE49-F238E27FC236}">
                <a16:creationId xmlns:a16="http://schemas.microsoft.com/office/drawing/2014/main" id="{E70B54BB-732B-F5DB-33CB-764F3173DB4A}"/>
              </a:ext>
            </a:extLst>
          </p:cNvPr>
          <p:cNvSpPr txBox="1"/>
          <p:nvPr/>
        </p:nvSpPr>
        <p:spPr>
          <a:xfrm>
            <a:off x="3810001" y="4668684"/>
            <a:ext cx="6349398" cy="669303"/>
          </a:xfrm>
          <a:prstGeom prst="rect">
            <a:avLst/>
          </a:prstGeom>
          <a:noFill/>
          <a:ln>
            <a:solidFill>
              <a:srgbClr val="0070C0"/>
            </a:solidFill>
          </a:ln>
        </p:spPr>
        <p:txBody>
          <a:bodyPr wrap="square" rtlCol="0" anchor="ctr">
            <a:noAutofit/>
          </a:bodyPr>
          <a:lstStyle/>
          <a:p>
            <a:r>
              <a:rPr lang="en-US" dirty="0">
                <a:solidFill>
                  <a:schemeClr val="bg1">
                    <a:lumMod val="65000"/>
                  </a:schemeClr>
                </a:solidFill>
              </a:rPr>
              <a:t>Cost of sustaining liquidity stress buffer, calculated according to internal models of the bank</a:t>
            </a:r>
            <a:endParaRPr lang="en-NL" dirty="0">
              <a:solidFill>
                <a:schemeClr val="bg1">
                  <a:lumMod val="65000"/>
                </a:schemeClr>
              </a:solidFill>
            </a:endParaRPr>
          </a:p>
        </p:txBody>
      </p:sp>
      <p:sp>
        <p:nvSpPr>
          <p:cNvPr id="23" name="Equals 22">
            <a:extLst>
              <a:ext uri="{FF2B5EF4-FFF2-40B4-BE49-F238E27FC236}">
                <a16:creationId xmlns:a16="http://schemas.microsoft.com/office/drawing/2014/main" id="{A444F367-76F8-269F-F225-DF33FD5E5231}"/>
              </a:ext>
            </a:extLst>
          </p:cNvPr>
          <p:cNvSpPr/>
          <p:nvPr/>
        </p:nvSpPr>
        <p:spPr>
          <a:xfrm>
            <a:off x="996882" y="2984129"/>
            <a:ext cx="388071" cy="276999"/>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solidFill>
                <a:schemeClr val="tx1"/>
              </a:solidFill>
            </a:endParaRPr>
          </a:p>
        </p:txBody>
      </p:sp>
      <p:sp>
        <p:nvSpPr>
          <p:cNvPr id="24" name="Plus Sign 23">
            <a:extLst>
              <a:ext uri="{FF2B5EF4-FFF2-40B4-BE49-F238E27FC236}">
                <a16:creationId xmlns:a16="http://schemas.microsoft.com/office/drawing/2014/main" id="{7ED1B693-89ED-7AEE-266A-78AFF593665F}"/>
              </a:ext>
            </a:extLst>
          </p:cNvPr>
          <p:cNvSpPr/>
          <p:nvPr/>
        </p:nvSpPr>
        <p:spPr>
          <a:xfrm>
            <a:off x="2356699" y="5356540"/>
            <a:ext cx="245097" cy="276999"/>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5" name="TextBox 24">
            <a:extLst>
              <a:ext uri="{FF2B5EF4-FFF2-40B4-BE49-F238E27FC236}">
                <a16:creationId xmlns:a16="http://schemas.microsoft.com/office/drawing/2014/main" id="{1DEB96A2-4F6F-EEAF-790C-13ACEC7ED094}"/>
              </a:ext>
            </a:extLst>
          </p:cNvPr>
          <p:cNvSpPr txBox="1"/>
          <p:nvPr/>
        </p:nvSpPr>
        <p:spPr>
          <a:xfrm>
            <a:off x="1508288" y="5660293"/>
            <a:ext cx="1913642" cy="669303"/>
          </a:xfrm>
          <a:prstGeom prst="rect">
            <a:avLst/>
          </a:prstGeom>
          <a:noFill/>
          <a:ln>
            <a:solidFill>
              <a:srgbClr val="0070C0"/>
            </a:solidFill>
          </a:ln>
        </p:spPr>
        <p:txBody>
          <a:bodyPr wrap="square" rtlCol="0" anchor="ctr">
            <a:noAutofit/>
          </a:bodyPr>
          <a:lstStyle/>
          <a:p>
            <a:r>
              <a:rPr lang="en-US" dirty="0"/>
              <a:t>Other</a:t>
            </a:r>
            <a:endParaRPr lang="en-NL" dirty="0"/>
          </a:p>
        </p:txBody>
      </p:sp>
      <p:sp>
        <p:nvSpPr>
          <p:cNvPr id="26" name="TextBox 25">
            <a:extLst>
              <a:ext uri="{FF2B5EF4-FFF2-40B4-BE49-F238E27FC236}">
                <a16:creationId xmlns:a16="http://schemas.microsoft.com/office/drawing/2014/main" id="{A2D31C75-366E-F6BE-82BC-2890FDA31487}"/>
              </a:ext>
            </a:extLst>
          </p:cNvPr>
          <p:cNvSpPr txBox="1"/>
          <p:nvPr/>
        </p:nvSpPr>
        <p:spPr>
          <a:xfrm>
            <a:off x="3810001" y="5660292"/>
            <a:ext cx="6349398" cy="669303"/>
          </a:xfrm>
          <a:prstGeom prst="rect">
            <a:avLst/>
          </a:prstGeom>
          <a:noFill/>
          <a:ln>
            <a:solidFill>
              <a:srgbClr val="0070C0"/>
            </a:solidFill>
          </a:ln>
        </p:spPr>
        <p:txBody>
          <a:bodyPr wrap="square" rtlCol="0" anchor="ctr">
            <a:noAutofit/>
          </a:bodyPr>
          <a:lstStyle/>
          <a:p>
            <a:r>
              <a:rPr lang="en-US" dirty="0"/>
              <a:t>Manual expert adjustments</a:t>
            </a:r>
            <a:endParaRPr lang="en-NL" dirty="0"/>
          </a:p>
        </p:txBody>
      </p:sp>
      <p:sp>
        <p:nvSpPr>
          <p:cNvPr id="27" name="Left Bracket 26">
            <a:extLst>
              <a:ext uri="{FF2B5EF4-FFF2-40B4-BE49-F238E27FC236}">
                <a16:creationId xmlns:a16="http://schemas.microsoft.com/office/drawing/2014/main" id="{44734C1F-001A-089E-8F62-9EF42641D903}"/>
              </a:ext>
            </a:extLst>
          </p:cNvPr>
          <p:cNvSpPr/>
          <p:nvPr/>
        </p:nvSpPr>
        <p:spPr>
          <a:xfrm rot="10800000">
            <a:off x="10240312" y="678232"/>
            <a:ext cx="113122" cy="1741836"/>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28" name="Left Bracket 27">
            <a:extLst>
              <a:ext uri="{FF2B5EF4-FFF2-40B4-BE49-F238E27FC236}">
                <a16:creationId xmlns:a16="http://schemas.microsoft.com/office/drawing/2014/main" id="{108B31E4-51B5-2507-B378-74EA9DE48FBB}"/>
              </a:ext>
            </a:extLst>
          </p:cNvPr>
          <p:cNvSpPr/>
          <p:nvPr/>
        </p:nvSpPr>
        <p:spPr>
          <a:xfrm rot="10800000">
            <a:off x="10240312" y="2668780"/>
            <a:ext cx="113122" cy="2668906"/>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29" name="TextBox 28">
            <a:extLst>
              <a:ext uri="{FF2B5EF4-FFF2-40B4-BE49-F238E27FC236}">
                <a16:creationId xmlns:a16="http://schemas.microsoft.com/office/drawing/2014/main" id="{8F3D40BB-563C-4D5B-8ADB-7A4A6739F607}"/>
              </a:ext>
            </a:extLst>
          </p:cNvPr>
          <p:cNvSpPr txBox="1"/>
          <p:nvPr/>
        </p:nvSpPr>
        <p:spPr>
          <a:xfrm>
            <a:off x="10434347" y="1183525"/>
            <a:ext cx="1536569" cy="646331"/>
          </a:xfrm>
          <a:prstGeom prst="rect">
            <a:avLst/>
          </a:prstGeom>
          <a:noFill/>
          <a:ln>
            <a:noFill/>
          </a:ln>
        </p:spPr>
        <p:txBody>
          <a:bodyPr wrap="square" rtlCol="0">
            <a:spAutoFit/>
          </a:bodyPr>
          <a:lstStyle/>
          <a:p>
            <a:r>
              <a:rPr lang="en-US" dirty="0"/>
              <a:t>Interest risk component</a:t>
            </a:r>
            <a:endParaRPr lang="en-NL" dirty="0"/>
          </a:p>
        </p:txBody>
      </p:sp>
      <p:sp>
        <p:nvSpPr>
          <p:cNvPr id="30" name="TextBox 29">
            <a:extLst>
              <a:ext uri="{FF2B5EF4-FFF2-40B4-BE49-F238E27FC236}">
                <a16:creationId xmlns:a16="http://schemas.microsoft.com/office/drawing/2014/main" id="{574BFA49-CF6C-4880-42A6-3F7ECCC758D2}"/>
              </a:ext>
            </a:extLst>
          </p:cNvPr>
          <p:cNvSpPr txBox="1"/>
          <p:nvPr/>
        </p:nvSpPr>
        <p:spPr>
          <a:xfrm>
            <a:off x="10434347" y="3534486"/>
            <a:ext cx="1536569" cy="923330"/>
          </a:xfrm>
          <a:prstGeom prst="rect">
            <a:avLst/>
          </a:prstGeom>
          <a:noFill/>
          <a:ln>
            <a:noFill/>
          </a:ln>
        </p:spPr>
        <p:txBody>
          <a:bodyPr wrap="square" rtlCol="0">
            <a:spAutoFit/>
          </a:bodyPr>
          <a:lstStyle/>
          <a:p>
            <a:r>
              <a:rPr lang="en-US" dirty="0"/>
              <a:t>Funding and liquidity risk component</a:t>
            </a:r>
            <a:endParaRPr lang="en-NL" dirty="0"/>
          </a:p>
        </p:txBody>
      </p:sp>
    </p:spTree>
    <p:extLst>
      <p:ext uri="{BB962C8B-B14F-4D97-AF65-F5344CB8AC3E}">
        <p14:creationId xmlns:p14="http://schemas.microsoft.com/office/powerpoint/2010/main" val="210459319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49</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Loan pricing</a:t>
            </a:r>
            <a:endParaRPr lang="en-US" sz="2500" b="1" kern="0" dirty="0">
              <a:solidFill>
                <a:srgbClr val="1F4E79"/>
              </a:solidFill>
              <a:latin typeface="SB Sans Display" panose="020B0503040504020204" pitchFamily="34" charset="0"/>
              <a:ea typeface="等线" panose="02010600030101010101" pitchFamily="2" charset="-122"/>
            </a:endParaRPr>
          </a:p>
        </p:txBody>
      </p:sp>
      <p:sp>
        <p:nvSpPr>
          <p:cNvPr id="4" name="TextBox 3">
            <a:extLst>
              <a:ext uri="{FF2B5EF4-FFF2-40B4-BE49-F238E27FC236}">
                <a16:creationId xmlns:a16="http://schemas.microsoft.com/office/drawing/2014/main" id="{A8077876-DE29-20AE-AE61-7C50584602EC}"/>
              </a:ext>
            </a:extLst>
          </p:cNvPr>
          <p:cNvSpPr txBox="1"/>
          <p:nvPr/>
        </p:nvSpPr>
        <p:spPr>
          <a:xfrm>
            <a:off x="521555" y="2255126"/>
            <a:ext cx="1127464" cy="898864"/>
          </a:xfrm>
          <a:prstGeom prst="rect">
            <a:avLst/>
          </a:prstGeom>
          <a:noFill/>
          <a:ln>
            <a:solidFill>
              <a:schemeClr val="accent1"/>
            </a:solidFill>
          </a:ln>
        </p:spPr>
        <p:txBody>
          <a:bodyPr wrap="square" rtlCol="0" anchor="ctr">
            <a:noAutofit/>
          </a:bodyPr>
          <a:lstStyle/>
          <a:p>
            <a:pPr algn="ctr"/>
            <a:r>
              <a:rPr lang="en-US" sz="2000" dirty="0"/>
              <a:t>Interest rate</a:t>
            </a:r>
          </a:p>
        </p:txBody>
      </p:sp>
      <p:sp>
        <p:nvSpPr>
          <p:cNvPr id="9" name="TextBox 8">
            <a:extLst>
              <a:ext uri="{FF2B5EF4-FFF2-40B4-BE49-F238E27FC236}">
                <a16:creationId xmlns:a16="http://schemas.microsoft.com/office/drawing/2014/main" id="{86B5E6EA-EDC5-026A-2E3F-A47544EC16A6}"/>
              </a:ext>
            </a:extLst>
          </p:cNvPr>
          <p:cNvSpPr txBox="1"/>
          <p:nvPr/>
        </p:nvSpPr>
        <p:spPr>
          <a:xfrm>
            <a:off x="2093570" y="2243769"/>
            <a:ext cx="980579" cy="899986"/>
          </a:xfrm>
          <a:prstGeom prst="rect">
            <a:avLst/>
          </a:prstGeom>
          <a:noFill/>
          <a:ln>
            <a:solidFill>
              <a:schemeClr val="accent1"/>
            </a:solidFill>
          </a:ln>
        </p:spPr>
        <p:txBody>
          <a:bodyPr wrap="square" anchor="ctr">
            <a:noAutofit/>
          </a:bodyPr>
          <a:lstStyle/>
          <a:p>
            <a:pPr algn="ctr"/>
            <a:r>
              <a:rPr lang="en-US" sz="2000" dirty="0"/>
              <a:t>FTP</a:t>
            </a:r>
            <a:endParaRPr lang="en-NL" sz="2000" dirty="0"/>
          </a:p>
        </p:txBody>
      </p:sp>
      <p:sp>
        <p:nvSpPr>
          <p:cNvPr id="12" name="Equals 11">
            <a:extLst>
              <a:ext uri="{FF2B5EF4-FFF2-40B4-BE49-F238E27FC236}">
                <a16:creationId xmlns:a16="http://schemas.microsoft.com/office/drawing/2014/main" id="{691892AB-BFF6-BC66-B9D9-FB8D87BFF529}"/>
              </a:ext>
            </a:extLst>
          </p:cNvPr>
          <p:cNvSpPr/>
          <p:nvPr/>
        </p:nvSpPr>
        <p:spPr>
          <a:xfrm>
            <a:off x="1715125" y="2625684"/>
            <a:ext cx="328476" cy="182900"/>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2000">
              <a:solidFill>
                <a:schemeClr val="tx1"/>
              </a:solidFill>
            </a:endParaRPr>
          </a:p>
        </p:txBody>
      </p:sp>
      <p:sp>
        <p:nvSpPr>
          <p:cNvPr id="14" name="TextBox 13">
            <a:extLst>
              <a:ext uri="{FF2B5EF4-FFF2-40B4-BE49-F238E27FC236}">
                <a16:creationId xmlns:a16="http://schemas.microsoft.com/office/drawing/2014/main" id="{892427F7-B666-F565-1832-A2249DB5DE04}"/>
              </a:ext>
            </a:extLst>
          </p:cNvPr>
          <p:cNvSpPr txBox="1"/>
          <p:nvPr/>
        </p:nvSpPr>
        <p:spPr>
          <a:xfrm>
            <a:off x="5590130" y="2252244"/>
            <a:ext cx="1324200" cy="921578"/>
          </a:xfrm>
          <a:prstGeom prst="rect">
            <a:avLst/>
          </a:prstGeom>
          <a:noFill/>
          <a:ln>
            <a:solidFill>
              <a:schemeClr val="accent1"/>
            </a:solidFill>
          </a:ln>
        </p:spPr>
        <p:txBody>
          <a:bodyPr wrap="square" anchor="ctr">
            <a:noAutofit/>
          </a:bodyPr>
          <a:lstStyle/>
          <a:p>
            <a:pPr algn="ctr"/>
            <a:r>
              <a:rPr lang="en-US" sz="2000" dirty="0"/>
              <a:t>Cost of risk</a:t>
            </a:r>
            <a:endParaRPr lang="en-NL" sz="2000" dirty="0"/>
          </a:p>
        </p:txBody>
      </p:sp>
      <p:sp>
        <p:nvSpPr>
          <p:cNvPr id="16" name="TextBox 15">
            <a:extLst>
              <a:ext uri="{FF2B5EF4-FFF2-40B4-BE49-F238E27FC236}">
                <a16:creationId xmlns:a16="http://schemas.microsoft.com/office/drawing/2014/main" id="{29B69AE6-5A8D-881D-1520-5886524BE4E6}"/>
              </a:ext>
            </a:extLst>
          </p:cNvPr>
          <p:cNvSpPr txBox="1"/>
          <p:nvPr/>
        </p:nvSpPr>
        <p:spPr>
          <a:xfrm>
            <a:off x="3464184" y="2252244"/>
            <a:ext cx="1643154" cy="901746"/>
          </a:xfrm>
          <a:prstGeom prst="rect">
            <a:avLst/>
          </a:prstGeom>
          <a:noFill/>
          <a:ln>
            <a:solidFill>
              <a:schemeClr val="accent1"/>
            </a:solidFill>
          </a:ln>
        </p:spPr>
        <p:txBody>
          <a:bodyPr wrap="square" anchor="ctr">
            <a:noAutofit/>
          </a:bodyPr>
          <a:lstStyle/>
          <a:p>
            <a:pPr algn="ctr"/>
            <a:r>
              <a:rPr lang="en-US" sz="2000" dirty="0"/>
              <a:t>Cost of capital</a:t>
            </a:r>
            <a:endParaRPr lang="en-NL" sz="2000" dirty="0"/>
          </a:p>
        </p:txBody>
      </p:sp>
      <p:sp>
        <p:nvSpPr>
          <p:cNvPr id="18" name="TextBox 17">
            <a:extLst>
              <a:ext uri="{FF2B5EF4-FFF2-40B4-BE49-F238E27FC236}">
                <a16:creationId xmlns:a16="http://schemas.microsoft.com/office/drawing/2014/main" id="{E14D8F62-D3AA-4637-141A-5C770AE711ED}"/>
              </a:ext>
            </a:extLst>
          </p:cNvPr>
          <p:cNvSpPr txBox="1"/>
          <p:nvPr/>
        </p:nvSpPr>
        <p:spPr>
          <a:xfrm>
            <a:off x="7250539" y="2242329"/>
            <a:ext cx="1770908" cy="921576"/>
          </a:xfrm>
          <a:prstGeom prst="rect">
            <a:avLst/>
          </a:prstGeom>
          <a:noFill/>
          <a:ln>
            <a:solidFill>
              <a:schemeClr val="accent1"/>
            </a:solidFill>
          </a:ln>
        </p:spPr>
        <p:txBody>
          <a:bodyPr wrap="square" anchor="ctr">
            <a:noAutofit/>
          </a:bodyPr>
          <a:lstStyle/>
          <a:p>
            <a:pPr algn="ctr"/>
            <a:r>
              <a:rPr lang="en-US" sz="2000" dirty="0"/>
              <a:t>FV of embedded derivatives </a:t>
            </a:r>
            <a:endParaRPr lang="en-NL" sz="2000" dirty="0"/>
          </a:p>
        </p:txBody>
      </p:sp>
      <p:sp>
        <p:nvSpPr>
          <p:cNvPr id="20" name="TextBox 19">
            <a:extLst>
              <a:ext uri="{FF2B5EF4-FFF2-40B4-BE49-F238E27FC236}">
                <a16:creationId xmlns:a16="http://schemas.microsoft.com/office/drawing/2014/main" id="{425E587E-EABA-2A90-8599-075A84194267}"/>
              </a:ext>
            </a:extLst>
          </p:cNvPr>
          <p:cNvSpPr txBox="1"/>
          <p:nvPr/>
        </p:nvSpPr>
        <p:spPr>
          <a:xfrm>
            <a:off x="9447222" y="2240231"/>
            <a:ext cx="846848" cy="921578"/>
          </a:xfrm>
          <a:prstGeom prst="rect">
            <a:avLst/>
          </a:prstGeom>
          <a:noFill/>
          <a:ln>
            <a:solidFill>
              <a:schemeClr val="accent1"/>
            </a:solidFill>
          </a:ln>
        </p:spPr>
        <p:txBody>
          <a:bodyPr wrap="square" anchor="ctr">
            <a:noAutofit/>
          </a:bodyPr>
          <a:lstStyle/>
          <a:p>
            <a:pPr algn="ctr"/>
            <a:r>
              <a:rPr lang="en-US" sz="2000" dirty="0"/>
              <a:t>OPEX</a:t>
            </a:r>
            <a:endParaRPr lang="en-NL" sz="2000" dirty="0"/>
          </a:p>
        </p:txBody>
      </p:sp>
      <p:sp>
        <p:nvSpPr>
          <p:cNvPr id="22" name="TextBox 21">
            <a:extLst>
              <a:ext uri="{FF2B5EF4-FFF2-40B4-BE49-F238E27FC236}">
                <a16:creationId xmlns:a16="http://schemas.microsoft.com/office/drawing/2014/main" id="{DE84A7F2-A254-2278-5354-3E09DB7CC2D8}"/>
              </a:ext>
            </a:extLst>
          </p:cNvPr>
          <p:cNvSpPr txBox="1"/>
          <p:nvPr/>
        </p:nvSpPr>
        <p:spPr>
          <a:xfrm>
            <a:off x="10674867" y="2255126"/>
            <a:ext cx="1245010" cy="906683"/>
          </a:xfrm>
          <a:prstGeom prst="rect">
            <a:avLst/>
          </a:prstGeom>
          <a:noFill/>
          <a:ln>
            <a:solidFill>
              <a:schemeClr val="accent1"/>
            </a:solidFill>
          </a:ln>
        </p:spPr>
        <p:txBody>
          <a:bodyPr wrap="square" anchor="ctr">
            <a:noAutofit/>
          </a:bodyPr>
          <a:lstStyle/>
          <a:p>
            <a:pPr algn="ctr"/>
            <a:r>
              <a:rPr lang="en-US" sz="2000" dirty="0"/>
              <a:t>Target return</a:t>
            </a:r>
            <a:endParaRPr lang="en-NL" sz="2000" dirty="0"/>
          </a:p>
        </p:txBody>
      </p:sp>
      <p:cxnSp>
        <p:nvCxnSpPr>
          <p:cNvPr id="35" name="Straight Connector 34">
            <a:extLst>
              <a:ext uri="{FF2B5EF4-FFF2-40B4-BE49-F238E27FC236}">
                <a16:creationId xmlns:a16="http://schemas.microsoft.com/office/drawing/2014/main" id="{E6FE4E7D-1D34-B95E-A499-1861ECA8B294}"/>
              </a:ext>
            </a:extLst>
          </p:cNvPr>
          <p:cNvCxnSpPr>
            <a:cxnSpLocks/>
          </p:cNvCxnSpPr>
          <p:nvPr/>
        </p:nvCxnSpPr>
        <p:spPr>
          <a:xfrm flipH="1">
            <a:off x="2554664" y="3137404"/>
            <a:ext cx="3875" cy="441697"/>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E079531-13A5-4892-6DAC-CD5F6C9A3AAF}"/>
              </a:ext>
            </a:extLst>
          </p:cNvPr>
          <p:cNvSpPr txBox="1"/>
          <p:nvPr/>
        </p:nvSpPr>
        <p:spPr>
          <a:xfrm>
            <a:off x="1864493" y="3580703"/>
            <a:ext cx="1398324" cy="1323439"/>
          </a:xfrm>
          <a:prstGeom prst="rect">
            <a:avLst/>
          </a:prstGeom>
          <a:noFill/>
        </p:spPr>
        <p:txBody>
          <a:bodyPr wrap="square" rtlCol="0">
            <a:spAutoFit/>
          </a:bodyPr>
          <a:lstStyle/>
          <a:p>
            <a:r>
              <a:rPr lang="en-US" sz="1600" dirty="0"/>
              <a:t>Inner cost of funding based on term, currency and schedule</a:t>
            </a:r>
            <a:endParaRPr lang="en-NL" sz="1600" dirty="0"/>
          </a:p>
        </p:txBody>
      </p:sp>
      <p:sp>
        <p:nvSpPr>
          <p:cNvPr id="38" name="TextBox 37">
            <a:extLst>
              <a:ext uri="{FF2B5EF4-FFF2-40B4-BE49-F238E27FC236}">
                <a16:creationId xmlns:a16="http://schemas.microsoft.com/office/drawing/2014/main" id="{85E8FE80-1AA6-51F6-2B6B-4D8C670CE255}"/>
              </a:ext>
            </a:extLst>
          </p:cNvPr>
          <p:cNvSpPr txBox="1"/>
          <p:nvPr/>
        </p:nvSpPr>
        <p:spPr>
          <a:xfrm>
            <a:off x="5712680" y="3577469"/>
            <a:ext cx="1398324" cy="830997"/>
          </a:xfrm>
          <a:prstGeom prst="rect">
            <a:avLst/>
          </a:prstGeom>
          <a:noFill/>
        </p:spPr>
        <p:txBody>
          <a:bodyPr wrap="square" rtlCol="0">
            <a:spAutoFit/>
          </a:bodyPr>
          <a:lstStyle/>
          <a:p>
            <a:r>
              <a:rPr lang="en-US" sz="1600" dirty="0"/>
              <a:t>Credit Loss forecast for loan</a:t>
            </a:r>
            <a:endParaRPr lang="en-NL" sz="1600" dirty="0"/>
          </a:p>
        </p:txBody>
      </p:sp>
      <p:sp>
        <p:nvSpPr>
          <p:cNvPr id="40" name="TextBox 39">
            <a:extLst>
              <a:ext uri="{FF2B5EF4-FFF2-40B4-BE49-F238E27FC236}">
                <a16:creationId xmlns:a16="http://schemas.microsoft.com/office/drawing/2014/main" id="{77785C50-DCEE-C328-E96C-84E2081D6FB3}"/>
              </a:ext>
            </a:extLst>
          </p:cNvPr>
          <p:cNvSpPr txBox="1"/>
          <p:nvPr/>
        </p:nvSpPr>
        <p:spPr>
          <a:xfrm>
            <a:off x="3262817" y="3578349"/>
            <a:ext cx="2330427" cy="2462213"/>
          </a:xfrm>
          <a:prstGeom prst="rect">
            <a:avLst/>
          </a:prstGeom>
          <a:noFill/>
        </p:spPr>
        <p:txBody>
          <a:bodyPr wrap="square" rtlCol="0">
            <a:spAutoFit/>
          </a:bodyPr>
          <a:lstStyle/>
          <a:p>
            <a:r>
              <a:rPr lang="en-US" sz="1400" dirty="0"/>
              <a:t>Bank funds its activities not purely from borrowed funds, but using its capital as well. </a:t>
            </a:r>
          </a:p>
          <a:p>
            <a:r>
              <a:rPr lang="en-US" sz="1400" dirty="0"/>
              <a:t>Return on capital is usually higher than funding from market. Usually banks use regulatory or ECAP framework to calculate </a:t>
            </a:r>
            <a:r>
              <a:rPr lang="en-US" sz="1400" b="1" dirty="0"/>
              <a:t>volume of capital allocated</a:t>
            </a:r>
            <a:r>
              <a:rPr lang="en-US" sz="1400" dirty="0"/>
              <a:t> and use KPI on ROE as </a:t>
            </a:r>
            <a:r>
              <a:rPr lang="en-US" sz="1400" b="1" dirty="0"/>
              <a:t>cost of capital</a:t>
            </a:r>
            <a:endParaRPr lang="en-NL" sz="1400" b="1" dirty="0"/>
          </a:p>
        </p:txBody>
      </p:sp>
      <p:sp>
        <p:nvSpPr>
          <p:cNvPr id="42" name="TextBox 41">
            <a:extLst>
              <a:ext uri="{FF2B5EF4-FFF2-40B4-BE49-F238E27FC236}">
                <a16:creationId xmlns:a16="http://schemas.microsoft.com/office/drawing/2014/main" id="{9A5F33B5-7715-4CB3-AED9-AC01FA407A85}"/>
              </a:ext>
            </a:extLst>
          </p:cNvPr>
          <p:cNvSpPr txBox="1"/>
          <p:nvPr/>
        </p:nvSpPr>
        <p:spPr>
          <a:xfrm>
            <a:off x="7329060" y="3569673"/>
            <a:ext cx="1462852" cy="584775"/>
          </a:xfrm>
          <a:prstGeom prst="rect">
            <a:avLst/>
          </a:prstGeom>
          <a:noFill/>
        </p:spPr>
        <p:txBody>
          <a:bodyPr wrap="square" rtlCol="0">
            <a:spAutoFit/>
          </a:bodyPr>
          <a:lstStyle/>
          <a:p>
            <a:r>
              <a:rPr lang="en-US" sz="1600" dirty="0" err="1"/>
              <a:t>Optionalities</a:t>
            </a:r>
            <a:r>
              <a:rPr lang="en-US" sz="1600" dirty="0"/>
              <a:t> related to loan</a:t>
            </a:r>
            <a:endParaRPr lang="en-NL" sz="1600" dirty="0"/>
          </a:p>
        </p:txBody>
      </p:sp>
      <p:cxnSp>
        <p:nvCxnSpPr>
          <p:cNvPr id="43" name="Straight Connector 42">
            <a:extLst>
              <a:ext uri="{FF2B5EF4-FFF2-40B4-BE49-F238E27FC236}">
                <a16:creationId xmlns:a16="http://schemas.microsoft.com/office/drawing/2014/main" id="{A4CC6D6F-42B4-BD32-F214-CE2EE686726D}"/>
              </a:ext>
            </a:extLst>
          </p:cNvPr>
          <p:cNvCxnSpPr>
            <a:cxnSpLocks/>
          </p:cNvCxnSpPr>
          <p:nvPr/>
        </p:nvCxnSpPr>
        <p:spPr>
          <a:xfrm flipH="1">
            <a:off x="6171186" y="3177143"/>
            <a:ext cx="3875" cy="441697"/>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B819088-06E2-B36B-65EB-7AB4F412E117}"/>
              </a:ext>
            </a:extLst>
          </p:cNvPr>
          <p:cNvCxnSpPr>
            <a:cxnSpLocks/>
          </p:cNvCxnSpPr>
          <p:nvPr/>
        </p:nvCxnSpPr>
        <p:spPr>
          <a:xfrm flipH="1">
            <a:off x="4281886" y="3171164"/>
            <a:ext cx="3875" cy="441697"/>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DCA9C1F-E974-524B-108F-888416170AD1}"/>
              </a:ext>
            </a:extLst>
          </p:cNvPr>
          <p:cNvCxnSpPr>
            <a:cxnSpLocks/>
          </p:cNvCxnSpPr>
          <p:nvPr/>
        </p:nvCxnSpPr>
        <p:spPr>
          <a:xfrm flipH="1">
            <a:off x="8132118" y="3161809"/>
            <a:ext cx="3875" cy="441697"/>
          </a:xfrm>
          <a:prstGeom prst="line">
            <a:avLst/>
          </a:prstGeom>
        </p:spPr>
        <p:style>
          <a:lnRef idx="1">
            <a:schemeClr val="accent1"/>
          </a:lnRef>
          <a:fillRef idx="0">
            <a:schemeClr val="accent1"/>
          </a:fillRef>
          <a:effectRef idx="0">
            <a:schemeClr val="accent1"/>
          </a:effectRef>
          <a:fontRef idx="minor">
            <a:schemeClr val="tx1"/>
          </a:fontRef>
        </p:style>
      </p:cxnSp>
      <p:sp>
        <p:nvSpPr>
          <p:cNvPr id="3" name="Plus Sign 2">
            <a:extLst>
              <a:ext uri="{FF2B5EF4-FFF2-40B4-BE49-F238E27FC236}">
                <a16:creationId xmlns:a16="http://schemas.microsoft.com/office/drawing/2014/main" id="{573CED5A-2C61-3ABB-D8DE-0E2F11EE3918}"/>
              </a:ext>
            </a:extLst>
          </p:cNvPr>
          <p:cNvSpPr/>
          <p:nvPr/>
        </p:nvSpPr>
        <p:spPr>
          <a:xfrm>
            <a:off x="3082711" y="2547672"/>
            <a:ext cx="327009" cy="338924"/>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6" name="Plus Sign 5">
            <a:extLst>
              <a:ext uri="{FF2B5EF4-FFF2-40B4-BE49-F238E27FC236}">
                <a16:creationId xmlns:a16="http://schemas.microsoft.com/office/drawing/2014/main" id="{257ACACA-8F70-6BE5-9286-2AF16D03EEAB}"/>
              </a:ext>
            </a:extLst>
          </p:cNvPr>
          <p:cNvSpPr/>
          <p:nvPr/>
        </p:nvSpPr>
        <p:spPr>
          <a:xfrm>
            <a:off x="5174772" y="2547672"/>
            <a:ext cx="327009" cy="338924"/>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7" name="Plus Sign 6">
            <a:extLst>
              <a:ext uri="{FF2B5EF4-FFF2-40B4-BE49-F238E27FC236}">
                <a16:creationId xmlns:a16="http://schemas.microsoft.com/office/drawing/2014/main" id="{3C1741CB-04C5-24DF-4E5D-DA34AB99D5ED}"/>
              </a:ext>
            </a:extLst>
          </p:cNvPr>
          <p:cNvSpPr/>
          <p:nvPr/>
        </p:nvSpPr>
        <p:spPr>
          <a:xfrm>
            <a:off x="6893380" y="2539005"/>
            <a:ext cx="327009" cy="338924"/>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8" name="Plus Sign 7">
            <a:extLst>
              <a:ext uri="{FF2B5EF4-FFF2-40B4-BE49-F238E27FC236}">
                <a16:creationId xmlns:a16="http://schemas.microsoft.com/office/drawing/2014/main" id="{8A39181E-37AB-10FA-2F20-A51BA7B3C8E6}"/>
              </a:ext>
            </a:extLst>
          </p:cNvPr>
          <p:cNvSpPr/>
          <p:nvPr/>
        </p:nvSpPr>
        <p:spPr>
          <a:xfrm>
            <a:off x="9048341" y="2540998"/>
            <a:ext cx="327009" cy="338924"/>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0" name="Plus Sign 9">
            <a:extLst>
              <a:ext uri="{FF2B5EF4-FFF2-40B4-BE49-F238E27FC236}">
                <a16:creationId xmlns:a16="http://schemas.microsoft.com/office/drawing/2014/main" id="{15D9BF7F-4C90-1394-B66E-CBC7251E95C3}"/>
              </a:ext>
            </a:extLst>
          </p:cNvPr>
          <p:cNvSpPr/>
          <p:nvPr/>
        </p:nvSpPr>
        <p:spPr>
          <a:xfrm>
            <a:off x="10313370" y="2547672"/>
            <a:ext cx="327009" cy="338924"/>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5" name="Left Bracket 14">
            <a:extLst>
              <a:ext uri="{FF2B5EF4-FFF2-40B4-BE49-F238E27FC236}">
                <a16:creationId xmlns:a16="http://schemas.microsoft.com/office/drawing/2014/main" id="{BA7946A5-20A9-9501-07C3-6D5E55E7CFE9}"/>
              </a:ext>
            </a:extLst>
          </p:cNvPr>
          <p:cNvSpPr/>
          <p:nvPr/>
        </p:nvSpPr>
        <p:spPr>
          <a:xfrm rot="5400000">
            <a:off x="6162793" y="-2073905"/>
            <a:ext cx="59684" cy="8276982"/>
          </a:xfrm>
          <a:prstGeom prst="leftBracket">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17" name="TextBox 16">
            <a:extLst>
              <a:ext uri="{FF2B5EF4-FFF2-40B4-BE49-F238E27FC236}">
                <a16:creationId xmlns:a16="http://schemas.microsoft.com/office/drawing/2014/main" id="{BB8F2405-733F-BC38-E31D-B0B93840A0EE}"/>
              </a:ext>
            </a:extLst>
          </p:cNvPr>
          <p:cNvSpPr txBox="1"/>
          <p:nvPr/>
        </p:nvSpPr>
        <p:spPr>
          <a:xfrm>
            <a:off x="4986065" y="1591652"/>
            <a:ext cx="2234324" cy="369332"/>
          </a:xfrm>
          <a:prstGeom prst="rect">
            <a:avLst/>
          </a:prstGeom>
          <a:noFill/>
        </p:spPr>
        <p:txBody>
          <a:bodyPr wrap="square" rtlCol="0">
            <a:spAutoFit/>
          </a:bodyPr>
          <a:lstStyle/>
          <a:p>
            <a:r>
              <a:rPr lang="en-US" dirty="0">
                <a:solidFill>
                  <a:schemeClr val="bg1">
                    <a:lumMod val="65000"/>
                  </a:schemeClr>
                </a:solidFill>
              </a:rPr>
              <a:t>Costs</a:t>
            </a:r>
            <a:endParaRPr lang="en-NL" dirty="0">
              <a:solidFill>
                <a:schemeClr val="bg1">
                  <a:lumMod val="65000"/>
                </a:schemeClr>
              </a:solidFill>
            </a:endParaRPr>
          </a:p>
        </p:txBody>
      </p:sp>
      <p:sp>
        <p:nvSpPr>
          <p:cNvPr id="11" name="TextBox 10">
            <a:extLst>
              <a:ext uri="{FF2B5EF4-FFF2-40B4-BE49-F238E27FC236}">
                <a16:creationId xmlns:a16="http://schemas.microsoft.com/office/drawing/2014/main" id="{F8CA33AE-BE73-48C9-B2CE-A49785544FF6}"/>
              </a:ext>
            </a:extLst>
          </p:cNvPr>
          <p:cNvSpPr txBox="1"/>
          <p:nvPr/>
        </p:nvSpPr>
        <p:spPr>
          <a:xfrm>
            <a:off x="8996429" y="3622825"/>
            <a:ext cx="2224847" cy="1077218"/>
          </a:xfrm>
          <a:prstGeom prst="rect">
            <a:avLst/>
          </a:prstGeom>
          <a:noFill/>
        </p:spPr>
        <p:txBody>
          <a:bodyPr wrap="square" rtlCol="0">
            <a:spAutoFit/>
          </a:bodyPr>
          <a:lstStyle/>
          <a:p>
            <a:r>
              <a:rPr lang="en-US" sz="1600" dirty="0"/>
              <a:t>Salary, tangible and intangible assets maintenance, and amortization, </a:t>
            </a:r>
            <a:r>
              <a:rPr lang="en-US" sz="1600" dirty="0" err="1"/>
              <a:t>etc</a:t>
            </a:r>
            <a:endParaRPr lang="en-NL" sz="1600" dirty="0"/>
          </a:p>
        </p:txBody>
      </p:sp>
      <p:cxnSp>
        <p:nvCxnSpPr>
          <p:cNvPr id="13" name="Straight Connector 12">
            <a:extLst>
              <a:ext uri="{FF2B5EF4-FFF2-40B4-BE49-F238E27FC236}">
                <a16:creationId xmlns:a16="http://schemas.microsoft.com/office/drawing/2014/main" id="{C31B274A-81D2-D285-1FEB-71B466B6B25C}"/>
              </a:ext>
            </a:extLst>
          </p:cNvPr>
          <p:cNvCxnSpPr>
            <a:cxnSpLocks/>
          </p:cNvCxnSpPr>
          <p:nvPr/>
        </p:nvCxnSpPr>
        <p:spPr>
          <a:xfrm flipH="1">
            <a:off x="10017543" y="3204997"/>
            <a:ext cx="3875" cy="441697"/>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61046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5</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Treasury yield = risk free rate</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17" name="TextBox 16">
            <a:extLst>
              <a:ext uri="{FF2B5EF4-FFF2-40B4-BE49-F238E27FC236}">
                <a16:creationId xmlns:a16="http://schemas.microsoft.com/office/drawing/2014/main" id="{BD69FFC3-98E2-981F-8355-D6A1F4013CC8}"/>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5.2</a:t>
            </a:r>
            <a:endParaRPr lang="ru-RU" sz="2500" b="1" dirty="0">
              <a:solidFill>
                <a:srgbClr val="FF0000"/>
              </a:solidFill>
            </a:endParaRPr>
          </a:p>
        </p:txBody>
      </p:sp>
      <p:sp>
        <p:nvSpPr>
          <p:cNvPr id="28" name="TextBox 27">
            <a:extLst>
              <a:ext uri="{FF2B5EF4-FFF2-40B4-BE49-F238E27FC236}">
                <a16:creationId xmlns:a16="http://schemas.microsoft.com/office/drawing/2014/main" id="{680C9532-9059-68DF-88F9-42B190D45C92}"/>
              </a:ext>
            </a:extLst>
          </p:cNvPr>
          <p:cNvSpPr txBox="1"/>
          <p:nvPr/>
        </p:nvSpPr>
        <p:spPr>
          <a:xfrm>
            <a:off x="381959" y="546445"/>
            <a:ext cx="6895534" cy="6001643"/>
          </a:xfrm>
          <a:prstGeom prst="rect">
            <a:avLst/>
          </a:prstGeom>
          <a:noFill/>
        </p:spPr>
        <p:txBody>
          <a:bodyPr wrap="square">
            <a:spAutoFit/>
          </a:bodyPr>
          <a:lstStyle/>
          <a:p>
            <a:endParaRPr lang="en-GB" sz="1600" b="1" dirty="0">
              <a:latin typeface="Arial" panose="020B0604020202020204" pitchFamily="34" charset="0"/>
              <a:cs typeface="Arial" panose="020B0604020202020204" pitchFamily="34" charset="0"/>
            </a:endParaRPr>
          </a:p>
          <a:p>
            <a:r>
              <a:rPr lang="en-GB" sz="1600" b="1" dirty="0">
                <a:latin typeface="Arial" panose="020B0604020202020204" pitchFamily="34" charset="0"/>
                <a:cs typeface="Arial" panose="020B0604020202020204" pitchFamily="34" charset="0"/>
              </a:rPr>
              <a:t>Treasury Yield = Risk-free rate = [C + ((N - PP) / T)] ÷ [(N + PP)/2]</a:t>
            </a:r>
          </a:p>
          <a:p>
            <a:endParaRPr lang="en-GB" sz="1600" dirty="0">
              <a:latin typeface="Arial" panose="020B0604020202020204" pitchFamily="34" charset="0"/>
              <a:cs typeface="Arial" panose="020B0604020202020204" pitchFamily="34" charset="0"/>
            </a:endParaRPr>
          </a:p>
          <a:p>
            <a:pPr algn="l"/>
            <a:r>
              <a:rPr lang="en-GB" sz="1600" b="0" i="0" dirty="0">
                <a:solidFill>
                  <a:schemeClr val="accent6">
                    <a:lumMod val="75000"/>
                  </a:schemeClr>
                </a:solidFill>
                <a:effectLst/>
                <a:latin typeface="Arial" panose="020B0604020202020204" pitchFamily="34" charset="0"/>
                <a:cs typeface="Arial" panose="020B0604020202020204" pitchFamily="34" charset="0"/>
              </a:rPr>
              <a:t>where C= coupon rate</a:t>
            </a:r>
          </a:p>
          <a:p>
            <a:pPr algn="l"/>
            <a:r>
              <a:rPr lang="en-GB" sz="1600" b="0" i="0" dirty="0">
                <a:solidFill>
                  <a:schemeClr val="accent6">
                    <a:lumMod val="75000"/>
                  </a:schemeClr>
                </a:solidFill>
                <a:effectLst/>
                <a:latin typeface="Arial" panose="020B0604020202020204" pitchFamily="34" charset="0"/>
                <a:cs typeface="Arial" panose="020B0604020202020204" pitchFamily="34" charset="0"/>
              </a:rPr>
              <a:t>N = face value or nominal</a:t>
            </a:r>
          </a:p>
          <a:p>
            <a:pPr algn="l"/>
            <a:r>
              <a:rPr lang="en-GB" sz="1600" b="0" i="0" dirty="0">
                <a:solidFill>
                  <a:schemeClr val="accent6">
                    <a:lumMod val="75000"/>
                  </a:schemeClr>
                </a:solidFill>
                <a:effectLst/>
                <a:latin typeface="Arial" panose="020B0604020202020204" pitchFamily="34" charset="0"/>
                <a:cs typeface="Arial" panose="020B0604020202020204" pitchFamily="34" charset="0"/>
              </a:rPr>
              <a:t>T = years to maturity</a:t>
            </a:r>
          </a:p>
          <a:p>
            <a:r>
              <a:rPr lang="en-GB" sz="1600" b="0" i="0" dirty="0">
                <a:solidFill>
                  <a:schemeClr val="accent2">
                    <a:lumMod val="75000"/>
                  </a:schemeClr>
                </a:solidFill>
                <a:effectLst/>
                <a:latin typeface="Arial" panose="020B0604020202020204" pitchFamily="34" charset="0"/>
                <a:cs typeface="Arial" panose="020B0604020202020204" pitchFamily="34" charset="0"/>
              </a:rPr>
              <a:t>PP = purchase price</a:t>
            </a:r>
          </a:p>
          <a:p>
            <a:r>
              <a:rPr lang="en-GB" sz="1600" dirty="0">
                <a:latin typeface="Arial" panose="020B0604020202020204" pitchFamily="34" charset="0"/>
                <a:cs typeface="Arial" panose="020B0604020202020204" pitchFamily="34" charset="0"/>
              </a:rPr>
              <a:t> </a:t>
            </a:r>
          </a:p>
          <a:p>
            <a:pPr algn="l"/>
            <a:r>
              <a:rPr lang="en-GB" sz="1600" b="0" i="0" dirty="0">
                <a:solidFill>
                  <a:srgbClr val="111111"/>
                </a:solidFill>
                <a:effectLst/>
                <a:latin typeface="Arial" panose="020B0604020202020204" pitchFamily="34" charset="0"/>
                <a:cs typeface="Arial" panose="020B0604020202020204" pitchFamily="34" charset="0"/>
              </a:rPr>
              <a:t>The yield on a 10-year note with a 3% coupon purchased at a premium for $10,300 and held to maturity is:</a:t>
            </a:r>
          </a:p>
          <a:p>
            <a:pPr algn="l"/>
            <a:endParaRPr lang="en-GB" sz="1600" b="0" i="0" dirty="0">
              <a:solidFill>
                <a:srgbClr val="111111"/>
              </a:solidFill>
              <a:effectLst/>
              <a:latin typeface="Arial" panose="020B0604020202020204" pitchFamily="34" charset="0"/>
              <a:cs typeface="Arial" panose="020B0604020202020204" pitchFamily="34" charset="0"/>
            </a:endParaRPr>
          </a:p>
          <a:p>
            <a:pPr algn="l"/>
            <a:r>
              <a:rPr lang="en-GB" sz="1600" i="0" dirty="0">
                <a:solidFill>
                  <a:srgbClr val="111111"/>
                </a:solidFill>
                <a:effectLst/>
                <a:latin typeface="Arial" panose="020B0604020202020204" pitchFamily="34" charset="0"/>
                <a:cs typeface="Arial" panose="020B0604020202020204" pitchFamily="34" charset="0"/>
              </a:rPr>
              <a:t>Treasury Yield = [$300 + (($10,000 - $10,300) / 10)] ÷ [($10,000 + $10,300) / 2] = $270 / $10,150 = .0266 rounded, or 2.66%</a:t>
            </a:r>
          </a:p>
          <a:p>
            <a:endParaRPr lang="en-GB" sz="1600" dirty="0">
              <a:latin typeface="Arial" panose="020B0604020202020204" pitchFamily="34" charset="0"/>
              <a:cs typeface="Arial" panose="020B0604020202020204" pitchFamily="34" charset="0"/>
            </a:endParaRPr>
          </a:p>
          <a:p>
            <a:r>
              <a:rPr lang="en-GB" sz="1600" b="1" dirty="0">
                <a:latin typeface="Arial" panose="020B0604020202020204" pitchFamily="34" charset="0"/>
                <a:cs typeface="Arial" panose="020B0604020202020204" pitchFamily="34" charset="0"/>
              </a:rPr>
              <a:t>Why is Treasury Yield = Risk-free rate?</a:t>
            </a:r>
          </a:p>
          <a:p>
            <a:endParaRPr lang="en-GB" sz="1600" b="1" dirty="0">
              <a:latin typeface="Arial" panose="020B0604020202020204" pitchFamily="34" charset="0"/>
              <a:cs typeface="Arial" panose="020B0604020202020204" pitchFamily="34" charset="0"/>
            </a:endParaRPr>
          </a:p>
          <a:p>
            <a:r>
              <a:rPr lang="en-GB" sz="1600" dirty="0">
                <a:latin typeface="Arial" panose="020B0604020202020204" pitchFamily="34" charset="0"/>
                <a:cs typeface="Arial" panose="020B0604020202020204" pitchFamily="34" charset="0"/>
              </a:rPr>
              <a:t>The logic is the following:</a:t>
            </a:r>
          </a:p>
          <a:p>
            <a:pPr marL="342900" indent="-342900">
              <a:buFont typeface="+mj-lt"/>
              <a:buAutoNum type="arabicPeriod"/>
            </a:pPr>
            <a:r>
              <a:rPr lang="en-GB" sz="1600" dirty="0">
                <a:latin typeface="Arial" panose="020B0604020202020204" pitchFamily="34" charset="0"/>
                <a:cs typeface="Arial" panose="020B0604020202020204" pitchFamily="34" charset="0"/>
              </a:rPr>
              <a:t>Investors anticipate the change of key rate, because of the inflation spike or currency control measures (geopolitical crisis in 2014) or interventions to prevent bunking run (geopolitical crisis in 2022) or etc.</a:t>
            </a:r>
          </a:p>
          <a:p>
            <a:pPr marL="342900" indent="-342900">
              <a:buFont typeface="+mj-lt"/>
              <a:buAutoNum type="arabicPeriod"/>
            </a:pPr>
            <a:r>
              <a:rPr lang="en-GB" sz="1600" b="1" dirty="0">
                <a:latin typeface="Arial" panose="020B0604020202020204" pitchFamily="34" charset="0"/>
                <a:cs typeface="Arial" panose="020B0604020202020204" pitchFamily="34" charset="0"/>
              </a:rPr>
              <a:t>For instance:</a:t>
            </a:r>
            <a:r>
              <a:rPr lang="en-GB" sz="1600" dirty="0">
                <a:latin typeface="Arial" panose="020B0604020202020204" pitchFamily="34" charset="0"/>
                <a:cs typeface="Arial" panose="020B0604020202020204" pitchFamily="34" charset="0"/>
              </a:rPr>
              <a:t> Increase</a:t>
            </a:r>
            <a:r>
              <a:rPr lang="ru-RU" sz="1600"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of</a:t>
            </a:r>
            <a:r>
              <a:rPr lang="en-GB" sz="1600" dirty="0">
                <a:latin typeface="Arial" panose="020B0604020202020204" pitchFamily="34" charset="0"/>
                <a:cs typeface="Arial" panose="020B0604020202020204" pitchFamily="34" charset="0"/>
              </a:rPr>
              <a:t> key rate leads to increase of coupons on new treasuries =&gt; PV of old instruments decrease (discounting rate increase) =&gt; </a:t>
            </a:r>
            <a:r>
              <a:rPr lang="en-GB" sz="1600" dirty="0">
                <a:solidFill>
                  <a:srgbClr val="C55A11"/>
                </a:solidFill>
                <a:latin typeface="Arial" panose="020B0604020202020204" pitchFamily="34" charset="0"/>
                <a:cs typeface="Arial" panose="020B0604020202020204" pitchFamily="34" charset="0"/>
              </a:rPr>
              <a:t>Purchase Price </a:t>
            </a:r>
            <a:r>
              <a:rPr lang="en-GB" sz="1600" dirty="0">
                <a:latin typeface="Arial" panose="020B0604020202020204" pitchFamily="34" charset="0"/>
                <a:cs typeface="Arial" panose="020B0604020202020204" pitchFamily="34" charset="0"/>
              </a:rPr>
              <a:t>decrease. And vice versa.</a:t>
            </a:r>
          </a:p>
          <a:p>
            <a:pPr marL="342900" indent="-342900">
              <a:buFont typeface="+mj-lt"/>
              <a:buAutoNum type="arabicPeriod"/>
            </a:pPr>
            <a:r>
              <a:rPr lang="en-GB" sz="1600" dirty="0">
                <a:latin typeface="Arial" panose="020B0604020202020204" pitchFamily="34" charset="0"/>
                <a:cs typeface="Arial" panose="020B0604020202020204" pitchFamily="34" charset="0"/>
              </a:rPr>
              <a:t>Hence Treasury yield is market anticipation of key rate level</a:t>
            </a:r>
          </a:p>
        </p:txBody>
      </p:sp>
      <p:sp>
        <p:nvSpPr>
          <p:cNvPr id="6" name="TextBox 5">
            <a:extLst>
              <a:ext uri="{FF2B5EF4-FFF2-40B4-BE49-F238E27FC236}">
                <a16:creationId xmlns:a16="http://schemas.microsoft.com/office/drawing/2014/main" id="{AE0CF21A-7EEC-2647-7CE1-4307193910B5}"/>
              </a:ext>
            </a:extLst>
          </p:cNvPr>
          <p:cNvSpPr txBox="1"/>
          <p:nvPr/>
        </p:nvSpPr>
        <p:spPr>
          <a:xfrm>
            <a:off x="3062797" y="1302428"/>
            <a:ext cx="2385134" cy="721470"/>
          </a:xfrm>
          <a:prstGeom prst="rect">
            <a:avLst/>
          </a:prstGeom>
          <a:noFill/>
          <a:ln>
            <a:noFill/>
          </a:ln>
        </p:spPr>
        <p:txBody>
          <a:bodyPr wrap="square" rtlCol="0" anchor="ctr">
            <a:noAutofit/>
          </a:bodyPr>
          <a:lstStyle/>
          <a:p>
            <a:r>
              <a:rPr lang="en-US" dirty="0">
                <a:solidFill>
                  <a:schemeClr val="accent6">
                    <a:lumMod val="75000"/>
                  </a:schemeClr>
                </a:solidFill>
              </a:rPr>
              <a:t>Fixed at origination</a:t>
            </a:r>
            <a:endParaRPr lang="en-NL" dirty="0">
              <a:solidFill>
                <a:schemeClr val="accent6">
                  <a:lumMod val="75000"/>
                </a:schemeClr>
              </a:solidFill>
            </a:endParaRPr>
          </a:p>
        </p:txBody>
      </p:sp>
      <p:sp>
        <p:nvSpPr>
          <p:cNvPr id="8" name="TextBox 7">
            <a:extLst>
              <a:ext uri="{FF2B5EF4-FFF2-40B4-BE49-F238E27FC236}">
                <a16:creationId xmlns:a16="http://schemas.microsoft.com/office/drawing/2014/main" id="{EF3AA727-580F-928C-D91B-08CCC90BB46B}"/>
              </a:ext>
            </a:extLst>
          </p:cNvPr>
          <p:cNvSpPr txBox="1"/>
          <p:nvPr/>
        </p:nvSpPr>
        <p:spPr>
          <a:xfrm>
            <a:off x="3080445" y="1944082"/>
            <a:ext cx="3681276" cy="415458"/>
          </a:xfrm>
          <a:prstGeom prst="rect">
            <a:avLst/>
          </a:prstGeom>
          <a:noFill/>
          <a:ln>
            <a:noFill/>
          </a:ln>
        </p:spPr>
        <p:txBody>
          <a:bodyPr wrap="square" rtlCol="0" anchor="ctr">
            <a:noAutofit/>
          </a:bodyPr>
          <a:lstStyle/>
          <a:p>
            <a:r>
              <a:rPr lang="en-US" dirty="0">
                <a:solidFill>
                  <a:schemeClr val="accent2">
                    <a:lumMod val="75000"/>
                  </a:schemeClr>
                </a:solidFill>
              </a:rPr>
              <a:t>Defined on the market</a:t>
            </a:r>
            <a:endParaRPr lang="en-NL" dirty="0">
              <a:solidFill>
                <a:schemeClr val="accent2">
                  <a:lumMod val="75000"/>
                </a:schemeClr>
              </a:solidFill>
            </a:endParaRPr>
          </a:p>
        </p:txBody>
      </p:sp>
      <p:graphicFrame>
        <p:nvGraphicFramePr>
          <p:cNvPr id="3" name="Chart 2">
            <a:extLst>
              <a:ext uri="{FF2B5EF4-FFF2-40B4-BE49-F238E27FC236}">
                <a16:creationId xmlns:a16="http://schemas.microsoft.com/office/drawing/2014/main" id="{D105480F-C095-4C97-9245-C3CB74424EC1}"/>
              </a:ext>
            </a:extLst>
          </p:cNvPr>
          <p:cNvGraphicFramePr>
            <a:graphicFrameLocks/>
          </p:cNvGraphicFramePr>
          <p:nvPr>
            <p:extLst>
              <p:ext uri="{D42A27DB-BD31-4B8C-83A1-F6EECF244321}">
                <p14:modId xmlns:p14="http://schemas.microsoft.com/office/powerpoint/2010/main" val="3759997536"/>
              </p:ext>
            </p:extLst>
          </p:nvPr>
        </p:nvGraphicFramePr>
        <p:xfrm>
          <a:off x="6761721" y="1258499"/>
          <a:ext cx="5326380" cy="487283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318744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50</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Why schedule is important?</a:t>
            </a:r>
            <a:endParaRPr lang="en-US" sz="2500" b="1" kern="0" dirty="0">
              <a:solidFill>
                <a:srgbClr val="1F4E79"/>
              </a:solidFill>
              <a:latin typeface="SB Sans Display" panose="020B0503040504020204" pitchFamily="34" charset="0"/>
              <a:ea typeface="等线" panose="02010600030101010101" pitchFamily="2" charset="-122"/>
            </a:endParaRPr>
          </a:p>
        </p:txBody>
      </p:sp>
      <p:graphicFrame>
        <p:nvGraphicFramePr>
          <p:cNvPr id="3" name="Chart 2">
            <a:extLst>
              <a:ext uri="{FF2B5EF4-FFF2-40B4-BE49-F238E27FC236}">
                <a16:creationId xmlns:a16="http://schemas.microsoft.com/office/drawing/2014/main" id="{D14F2AFB-9BE5-1194-5793-3A81C8CBA917}"/>
              </a:ext>
            </a:extLst>
          </p:cNvPr>
          <p:cNvGraphicFramePr>
            <a:graphicFrameLocks/>
          </p:cNvGraphicFramePr>
          <p:nvPr>
            <p:extLst>
              <p:ext uri="{D42A27DB-BD31-4B8C-83A1-F6EECF244321}">
                <p14:modId xmlns:p14="http://schemas.microsoft.com/office/powerpoint/2010/main" val="1172734131"/>
              </p:ext>
            </p:extLst>
          </p:nvPr>
        </p:nvGraphicFramePr>
        <p:xfrm>
          <a:off x="1380931" y="950988"/>
          <a:ext cx="5758984" cy="2478012"/>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0CC4AECF-C07E-D445-7662-1379531BFE9E}"/>
              </a:ext>
            </a:extLst>
          </p:cNvPr>
          <p:cNvSpPr txBox="1"/>
          <p:nvPr/>
        </p:nvSpPr>
        <p:spPr>
          <a:xfrm>
            <a:off x="7616952" y="950988"/>
            <a:ext cx="4492190" cy="3046988"/>
          </a:xfrm>
          <a:prstGeom prst="rect">
            <a:avLst/>
          </a:prstGeom>
          <a:noFill/>
        </p:spPr>
        <p:txBody>
          <a:bodyPr wrap="square" rtlCol="0">
            <a:spAutoFit/>
          </a:bodyPr>
          <a:lstStyle/>
          <a:p>
            <a:r>
              <a:rPr lang="en-US" sz="2400" dirty="0"/>
              <a:t>Term of both loans = 10 years</a:t>
            </a:r>
          </a:p>
          <a:p>
            <a:r>
              <a:rPr lang="en-US" sz="2400" dirty="0"/>
              <a:t>Principal of both loans = 13 000</a:t>
            </a:r>
          </a:p>
          <a:p>
            <a:endParaRPr lang="en-US" sz="2400" dirty="0"/>
          </a:p>
          <a:p>
            <a:r>
              <a:rPr lang="en-US" sz="2400" dirty="0"/>
              <a:t>Should we have the same FTP for pricing both loans?</a:t>
            </a:r>
          </a:p>
          <a:p>
            <a:endParaRPr lang="en-US" sz="2400" dirty="0"/>
          </a:p>
          <a:p>
            <a:r>
              <a:rPr lang="en-US" sz="2400" dirty="0" err="1"/>
              <a:t>w.a.</a:t>
            </a:r>
            <a:r>
              <a:rPr lang="en-US" sz="2400" dirty="0"/>
              <a:t> funding cost for loan 1 = 6,7%</a:t>
            </a:r>
          </a:p>
          <a:p>
            <a:r>
              <a:rPr lang="en-US" sz="2400" dirty="0" err="1"/>
              <a:t>w.a.</a:t>
            </a:r>
            <a:r>
              <a:rPr lang="en-US" sz="2400" dirty="0"/>
              <a:t> funding cost for loan 2 = 7,3%</a:t>
            </a:r>
            <a:endParaRPr lang="en-NL" sz="2400" dirty="0"/>
          </a:p>
        </p:txBody>
      </p:sp>
      <p:graphicFrame>
        <p:nvGraphicFramePr>
          <p:cNvPr id="8" name="Chart 7">
            <a:extLst>
              <a:ext uri="{FF2B5EF4-FFF2-40B4-BE49-F238E27FC236}">
                <a16:creationId xmlns:a16="http://schemas.microsoft.com/office/drawing/2014/main" id="{E907387D-4137-E229-41C1-A58A64A3F7FA}"/>
              </a:ext>
            </a:extLst>
          </p:cNvPr>
          <p:cNvGraphicFramePr>
            <a:graphicFrameLocks/>
          </p:cNvGraphicFramePr>
          <p:nvPr>
            <p:extLst>
              <p:ext uri="{D42A27DB-BD31-4B8C-83A1-F6EECF244321}">
                <p14:modId xmlns:p14="http://schemas.microsoft.com/office/powerpoint/2010/main" val="1955249724"/>
              </p:ext>
            </p:extLst>
          </p:nvPr>
        </p:nvGraphicFramePr>
        <p:xfrm>
          <a:off x="333080" y="3563286"/>
          <a:ext cx="6806835" cy="304698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096478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solidFill>
                  <a:schemeClr val="bg1">
                    <a:lumMod val="50000"/>
                  </a:schemeClr>
                </a:solidFill>
              </a:rPr>
              <a:t>51</a:t>
            </a:fld>
            <a:endParaRPr lang="en-US" dirty="0">
              <a:solidFill>
                <a:schemeClr val="bg1">
                  <a:lumMod val="50000"/>
                </a:schemeClr>
              </a:solidFill>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rPr>
              <a:t>Deposit pricing</a:t>
            </a:r>
            <a:endParaRPr lang="en-US" sz="2500" b="1" kern="0" dirty="0">
              <a:solidFill>
                <a:srgbClr val="1F4E79"/>
              </a:solidFill>
              <a:latin typeface="SB Sans Display" panose="020B0503040504020204" pitchFamily="34" charset="0"/>
              <a:ea typeface="等线" panose="02010600030101010101" pitchFamily="2" charset="-122"/>
            </a:endParaRPr>
          </a:p>
        </p:txBody>
      </p:sp>
      <p:sp>
        <p:nvSpPr>
          <p:cNvPr id="4" name="TextBox 3">
            <a:extLst>
              <a:ext uri="{FF2B5EF4-FFF2-40B4-BE49-F238E27FC236}">
                <a16:creationId xmlns:a16="http://schemas.microsoft.com/office/drawing/2014/main" id="{A8077876-DE29-20AE-AE61-7C50584602EC}"/>
              </a:ext>
            </a:extLst>
          </p:cNvPr>
          <p:cNvSpPr txBox="1"/>
          <p:nvPr/>
        </p:nvSpPr>
        <p:spPr>
          <a:xfrm>
            <a:off x="521555" y="1727225"/>
            <a:ext cx="1127464" cy="898864"/>
          </a:xfrm>
          <a:prstGeom prst="rect">
            <a:avLst/>
          </a:prstGeom>
          <a:noFill/>
          <a:ln>
            <a:solidFill>
              <a:schemeClr val="accent1"/>
            </a:solidFill>
          </a:ln>
        </p:spPr>
        <p:txBody>
          <a:bodyPr wrap="square" rtlCol="0" anchor="ctr">
            <a:noAutofit/>
          </a:bodyPr>
          <a:lstStyle/>
          <a:p>
            <a:pPr algn="ctr"/>
            <a:r>
              <a:rPr lang="en-US" sz="2000" dirty="0"/>
              <a:t>Interest rate</a:t>
            </a:r>
          </a:p>
        </p:txBody>
      </p:sp>
      <p:sp>
        <p:nvSpPr>
          <p:cNvPr id="9" name="TextBox 8">
            <a:extLst>
              <a:ext uri="{FF2B5EF4-FFF2-40B4-BE49-F238E27FC236}">
                <a16:creationId xmlns:a16="http://schemas.microsoft.com/office/drawing/2014/main" id="{86B5E6EA-EDC5-026A-2E3F-A47544EC16A6}"/>
              </a:ext>
            </a:extLst>
          </p:cNvPr>
          <p:cNvSpPr txBox="1"/>
          <p:nvPr/>
        </p:nvSpPr>
        <p:spPr>
          <a:xfrm>
            <a:off x="2093570" y="1715868"/>
            <a:ext cx="929937" cy="899986"/>
          </a:xfrm>
          <a:prstGeom prst="rect">
            <a:avLst/>
          </a:prstGeom>
          <a:noFill/>
          <a:ln>
            <a:solidFill>
              <a:schemeClr val="accent1"/>
            </a:solidFill>
          </a:ln>
        </p:spPr>
        <p:txBody>
          <a:bodyPr wrap="square" anchor="ctr">
            <a:noAutofit/>
          </a:bodyPr>
          <a:lstStyle/>
          <a:p>
            <a:pPr algn="ctr"/>
            <a:r>
              <a:rPr lang="en-US" sz="2000" dirty="0"/>
              <a:t>FTP’</a:t>
            </a:r>
            <a:endParaRPr lang="en-NL" sz="2000" dirty="0"/>
          </a:p>
        </p:txBody>
      </p:sp>
      <p:sp>
        <p:nvSpPr>
          <p:cNvPr id="12" name="Equals 11">
            <a:extLst>
              <a:ext uri="{FF2B5EF4-FFF2-40B4-BE49-F238E27FC236}">
                <a16:creationId xmlns:a16="http://schemas.microsoft.com/office/drawing/2014/main" id="{691892AB-BFF6-BC66-B9D9-FB8D87BFF529}"/>
              </a:ext>
            </a:extLst>
          </p:cNvPr>
          <p:cNvSpPr/>
          <p:nvPr/>
        </p:nvSpPr>
        <p:spPr>
          <a:xfrm>
            <a:off x="1715125" y="2097783"/>
            <a:ext cx="328476" cy="182900"/>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sz="2000">
              <a:solidFill>
                <a:schemeClr val="tx1"/>
              </a:solidFill>
            </a:endParaRPr>
          </a:p>
        </p:txBody>
      </p:sp>
      <p:sp>
        <p:nvSpPr>
          <p:cNvPr id="14" name="TextBox 13">
            <a:extLst>
              <a:ext uri="{FF2B5EF4-FFF2-40B4-BE49-F238E27FC236}">
                <a16:creationId xmlns:a16="http://schemas.microsoft.com/office/drawing/2014/main" id="{892427F7-B666-F565-1832-A2249DB5DE04}"/>
              </a:ext>
            </a:extLst>
          </p:cNvPr>
          <p:cNvSpPr txBox="1"/>
          <p:nvPr/>
        </p:nvSpPr>
        <p:spPr>
          <a:xfrm>
            <a:off x="3455187" y="1715868"/>
            <a:ext cx="1324200" cy="921578"/>
          </a:xfrm>
          <a:prstGeom prst="rect">
            <a:avLst/>
          </a:prstGeom>
          <a:noFill/>
          <a:ln>
            <a:solidFill>
              <a:schemeClr val="accent1"/>
            </a:solidFill>
          </a:ln>
        </p:spPr>
        <p:txBody>
          <a:bodyPr wrap="square" anchor="ctr">
            <a:noAutofit/>
          </a:bodyPr>
          <a:lstStyle/>
          <a:p>
            <a:pPr algn="ctr"/>
            <a:r>
              <a:rPr lang="en-US" sz="2000" dirty="0"/>
              <a:t>Deposit Insurance </a:t>
            </a:r>
            <a:endParaRPr lang="en-NL" sz="2000" dirty="0"/>
          </a:p>
        </p:txBody>
      </p:sp>
      <p:sp>
        <p:nvSpPr>
          <p:cNvPr id="16" name="TextBox 15">
            <a:extLst>
              <a:ext uri="{FF2B5EF4-FFF2-40B4-BE49-F238E27FC236}">
                <a16:creationId xmlns:a16="http://schemas.microsoft.com/office/drawing/2014/main" id="{29B69AE6-5A8D-881D-1520-5886524BE4E6}"/>
              </a:ext>
            </a:extLst>
          </p:cNvPr>
          <p:cNvSpPr txBox="1"/>
          <p:nvPr/>
        </p:nvSpPr>
        <p:spPr>
          <a:xfrm>
            <a:off x="5226347" y="1714988"/>
            <a:ext cx="1643154" cy="901746"/>
          </a:xfrm>
          <a:prstGeom prst="rect">
            <a:avLst/>
          </a:prstGeom>
          <a:noFill/>
          <a:ln>
            <a:solidFill>
              <a:schemeClr val="accent1"/>
            </a:solidFill>
          </a:ln>
        </p:spPr>
        <p:txBody>
          <a:bodyPr wrap="square" anchor="ctr">
            <a:noAutofit/>
          </a:bodyPr>
          <a:lstStyle/>
          <a:p>
            <a:pPr algn="ctr"/>
            <a:r>
              <a:rPr lang="en-US" sz="2000" dirty="0"/>
              <a:t>Reserve requirements </a:t>
            </a:r>
            <a:endParaRPr lang="en-NL" sz="2000" dirty="0"/>
          </a:p>
        </p:txBody>
      </p:sp>
      <p:sp>
        <p:nvSpPr>
          <p:cNvPr id="18" name="TextBox 17">
            <a:extLst>
              <a:ext uri="{FF2B5EF4-FFF2-40B4-BE49-F238E27FC236}">
                <a16:creationId xmlns:a16="http://schemas.microsoft.com/office/drawing/2014/main" id="{E14D8F62-D3AA-4637-141A-5C770AE711ED}"/>
              </a:ext>
            </a:extLst>
          </p:cNvPr>
          <p:cNvSpPr txBox="1"/>
          <p:nvPr/>
        </p:nvSpPr>
        <p:spPr>
          <a:xfrm>
            <a:off x="7250539" y="1714428"/>
            <a:ext cx="1770908" cy="921576"/>
          </a:xfrm>
          <a:prstGeom prst="rect">
            <a:avLst/>
          </a:prstGeom>
          <a:noFill/>
          <a:ln>
            <a:solidFill>
              <a:schemeClr val="accent1"/>
            </a:solidFill>
          </a:ln>
        </p:spPr>
        <p:txBody>
          <a:bodyPr wrap="square" anchor="ctr">
            <a:noAutofit/>
          </a:bodyPr>
          <a:lstStyle/>
          <a:p>
            <a:pPr algn="ctr"/>
            <a:r>
              <a:rPr lang="en-US" sz="2000" dirty="0"/>
              <a:t>FV of embedded derivatives </a:t>
            </a:r>
            <a:endParaRPr lang="en-NL" sz="2000" dirty="0"/>
          </a:p>
        </p:txBody>
      </p:sp>
      <p:sp>
        <p:nvSpPr>
          <p:cNvPr id="20" name="TextBox 19">
            <a:extLst>
              <a:ext uri="{FF2B5EF4-FFF2-40B4-BE49-F238E27FC236}">
                <a16:creationId xmlns:a16="http://schemas.microsoft.com/office/drawing/2014/main" id="{425E587E-EABA-2A90-8599-075A84194267}"/>
              </a:ext>
            </a:extLst>
          </p:cNvPr>
          <p:cNvSpPr txBox="1"/>
          <p:nvPr/>
        </p:nvSpPr>
        <p:spPr>
          <a:xfrm>
            <a:off x="9447222" y="1712330"/>
            <a:ext cx="846848" cy="921578"/>
          </a:xfrm>
          <a:prstGeom prst="rect">
            <a:avLst/>
          </a:prstGeom>
          <a:noFill/>
          <a:ln>
            <a:solidFill>
              <a:schemeClr val="accent1"/>
            </a:solidFill>
          </a:ln>
        </p:spPr>
        <p:txBody>
          <a:bodyPr wrap="square" anchor="ctr">
            <a:noAutofit/>
          </a:bodyPr>
          <a:lstStyle/>
          <a:p>
            <a:pPr algn="ctr"/>
            <a:r>
              <a:rPr lang="en-US" sz="2000" dirty="0"/>
              <a:t>OPEX</a:t>
            </a:r>
            <a:endParaRPr lang="en-NL" sz="2000" dirty="0"/>
          </a:p>
        </p:txBody>
      </p:sp>
      <p:sp>
        <p:nvSpPr>
          <p:cNvPr id="22" name="TextBox 21">
            <a:extLst>
              <a:ext uri="{FF2B5EF4-FFF2-40B4-BE49-F238E27FC236}">
                <a16:creationId xmlns:a16="http://schemas.microsoft.com/office/drawing/2014/main" id="{DE84A7F2-A254-2278-5354-3E09DB7CC2D8}"/>
              </a:ext>
            </a:extLst>
          </p:cNvPr>
          <p:cNvSpPr txBox="1"/>
          <p:nvPr/>
        </p:nvSpPr>
        <p:spPr>
          <a:xfrm>
            <a:off x="10674867" y="1727225"/>
            <a:ext cx="1245010" cy="906683"/>
          </a:xfrm>
          <a:prstGeom prst="rect">
            <a:avLst/>
          </a:prstGeom>
          <a:noFill/>
          <a:ln>
            <a:solidFill>
              <a:schemeClr val="accent1"/>
            </a:solidFill>
          </a:ln>
        </p:spPr>
        <p:txBody>
          <a:bodyPr wrap="square" anchor="ctr">
            <a:noAutofit/>
          </a:bodyPr>
          <a:lstStyle/>
          <a:p>
            <a:pPr algn="ctr"/>
            <a:r>
              <a:rPr lang="en-US" sz="2000" dirty="0"/>
              <a:t>Target return</a:t>
            </a:r>
            <a:endParaRPr lang="en-NL" sz="2000" dirty="0"/>
          </a:p>
        </p:txBody>
      </p:sp>
      <p:sp>
        <p:nvSpPr>
          <p:cNvPr id="23" name="Minus Sign 22">
            <a:extLst>
              <a:ext uri="{FF2B5EF4-FFF2-40B4-BE49-F238E27FC236}">
                <a16:creationId xmlns:a16="http://schemas.microsoft.com/office/drawing/2014/main" id="{B9C219CB-3B12-49F7-7DAB-C92AF856AB57}"/>
              </a:ext>
            </a:extLst>
          </p:cNvPr>
          <p:cNvSpPr/>
          <p:nvPr/>
        </p:nvSpPr>
        <p:spPr>
          <a:xfrm>
            <a:off x="3054617" y="2097783"/>
            <a:ext cx="344007" cy="182900"/>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4" name="Minus Sign 23">
            <a:extLst>
              <a:ext uri="{FF2B5EF4-FFF2-40B4-BE49-F238E27FC236}">
                <a16:creationId xmlns:a16="http://schemas.microsoft.com/office/drawing/2014/main" id="{278664A0-ED84-274D-398C-F12996FE0D12}"/>
              </a:ext>
            </a:extLst>
          </p:cNvPr>
          <p:cNvSpPr/>
          <p:nvPr/>
        </p:nvSpPr>
        <p:spPr>
          <a:xfrm>
            <a:off x="4829578" y="2097783"/>
            <a:ext cx="344007" cy="182900"/>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5" name="Minus Sign 24">
            <a:extLst>
              <a:ext uri="{FF2B5EF4-FFF2-40B4-BE49-F238E27FC236}">
                <a16:creationId xmlns:a16="http://schemas.microsoft.com/office/drawing/2014/main" id="{6A813E22-9F77-D0A9-75EC-EF8307D2D778}"/>
              </a:ext>
            </a:extLst>
          </p:cNvPr>
          <p:cNvSpPr/>
          <p:nvPr/>
        </p:nvSpPr>
        <p:spPr>
          <a:xfrm>
            <a:off x="6869501" y="2097783"/>
            <a:ext cx="344007" cy="182900"/>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26" name="Minus Sign 25">
            <a:extLst>
              <a:ext uri="{FF2B5EF4-FFF2-40B4-BE49-F238E27FC236}">
                <a16:creationId xmlns:a16="http://schemas.microsoft.com/office/drawing/2014/main" id="{1680075F-F374-EBC4-9865-0AA52290493C}"/>
              </a:ext>
            </a:extLst>
          </p:cNvPr>
          <p:cNvSpPr/>
          <p:nvPr/>
        </p:nvSpPr>
        <p:spPr>
          <a:xfrm>
            <a:off x="9049186" y="2083766"/>
            <a:ext cx="344007" cy="182900"/>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pic>
        <p:nvPicPr>
          <p:cNvPr id="28" name="Picture 27">
            <a:extLst>
              <a:ext uri="{FF2B5EF4-FFF2-40B4-BE49-F238E27FC236}">
                <a16:creationId xmlns:a16="http://schemas.microsoft.com/office/drawing/2014/main" id="{6C793684-DA0C-5D7D-3C6B-393111001F18}"/>
              </a:ext>
            </a:extLst>
          </p:cNvPr>
          <p:cNvPicPr>
            <a:picLocks noChangeAspect="1"/>
          </p:cNvPicPr>
          <p:nvPr/>
        </p:nvPicPr>
        <p:blipFill>
          <a:blip r:embed="rId2"/>
          <a:stretch>
            <a:fillRect/>
          </a:stretch>
        </p:blipFill>
        <p:spPr>
          <a:xfrm>
            <a:off x="6561056" y="5270910"/>
            <a:ext cx="2533744" cy="1396527"/>
          </a:xfrm>
          <a:prstGeom prst="rect">
            <a:avLst/>
          </a:prstGeom>
        </p:spPr>
      </p:pic>
      <p:sp>
        <p:nvSpPr>
          <p:cNvPr id="29" name="TextBox 28">
            <a:extLst>
              <a:ext uri="{FF2B5EF4-FFF2-40B4-BE49-F238E27FC236}">
                <a16:creationId xmlns:a16="http://schemas.microsoft.com/office/drawing/2014/main" id="{ABBA29A4-5C4C-010C-EF18-3287C8E4C44C}"/>
              </a:ext>
            </a:extLst>
          </p:cNvPr>
          <p:cNvSpPr txBox="1"/>
          <p:nvPr/>
        </p:nvSpPr>
        <p:spPr>
          <a:xfrm>
            <a:off x="2454399" y="5737034"/>
            <a:ext cx="2046894" cy="400110"/>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Key rate = 7,5%</a:t>
            </a:r>
            <a:endParaRPr lang="en-NL" sz="2000" dirty="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8EB843D7-79FA-09D3-5E96-29A330ABCE5F}"/>
              </a:ext>
            </a:extLst>
          </p:cNvPr>
          <p:cNvSpPr/>
          <p:nvPr/>
        </p:nvSpPr>
        <p:spPr>
          <a:xfrm>
            <a:off x="521555" y="5203595"/>
            <a:ext cx="8573245" cy="15121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1" name="Arrow: Right 30">
            <a:extLst>
              <a:ext uri="{FF2B5EF4-FFF2-40B4-BE49-F238E27FC236}">
                <a16:creationId xmlns:a16="http://schemas.microsoft.com/office/drawing/2014/main" id="{197F8707-951D-0631-A66C-94FDB1F10A24}"/>
              </a:ext>
            </a:extLst>
          </p:cNvPr>
          <p:cNvSpPr/>
          <p:nvPr/>
        </p:nvSpPr>
        <p:spPr>
          <a:xfrm>
            <a:off x="4939646" y="5825764"/>
            <a:ext cx="744717" cy="28280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32" name="TextBox 31">
            <a:extLst>
              <a:ext uri="{FF2B5EF4-FFF2-40B4-BE49-F238E27FC236}">
                <a16:creationId xmlns:a16="http://schemas.microsoft.com/office/drawing/2014/main" id="{5F1045F2-C4DF-54A7-F2C2-7FD7EDEC2008}"/>
              </a:ext>
            </a:extLst>
          </p:cNvPr>
          <p:cNvSpPr txBox="1"/>
          <p:nvPr/>
        </p:nvSpPr>
        <p:spPr>
          <a:xfrm>
            <a:off x="521555" y="5216220"/>
            <a:ext cx="2757600" cy="338554"/>
          </a:xfrm>
          <a:prstGeom prst="rect">
            <a:avLst/>
          </a:prstGeom>
          <a:noFill/>
        </p:spPr>
        <p:txBody>
          <a:bodyPr wrap="square" rtlCol="0">
            <a:spAutoFit/>
          </a:bodyPr>
          <a:lstStyle/>
          <a:p>
            <a:r>
              <a:rPr lang="en-US" sz="1600" i="1" dirty="0"/>
              <a:t>As per 02/02/2023</a:t>
            </a:r>
            <a:endParaRPr lang="en-NL" sz="1600" i="1" dirty="0"/>
          </a:p>
        </p:txBody>
      </p:sp>
      <p:sp>
        <p:nvSpPr>
          <p:cNvPr id="33" name="Minus Sign 32">
            <a:extLst>
              <a:ext uri="{FF2B5EF4-FFF2-40B4-BE49-F238E27FC236}">
                <a16:creationId xmlns:a16="http://schemas.microsoft.com/office/drawing/2014/main" id="{E20DFE2A-A534-8736-0B3A-8330307F0667}"/>
              </a:ext>
            </a:extLst>
          </p:cNvPr>
          <p:cNvSpPr/>
          <p:nvPr/>
        </p:nvSpPr>
        <p:spPr>
          <a:xfrm>
            <a:off x="10294070" y="2097783"/>
            <a:ext cx="344007" cy="182900"/>
          </a:xfrm>
          <a:prstGeom prst="mathMin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cxnSp>
        <p:nvCxnSpPr>
          <p:cNvPr id="35" name="Straight Connector 34">
            <a:extLst>
              <a:ext uri="{FF2B5EF4-FFF2-40B4-BE49-F238E27FC236}">
                <a16:creationId xmlns:a16="http://schemas.microsoft.com/office/drawing/2014/main" id="{E6FE4E7D-1D34-B95E-A499-1861ECA8B294}"/>
              </a:ext>
            </a:extLst>
          </p:cNvPr>
          <p:cNvCxnSpPr>
            <a:cxnSpLocks/>
          </p:cNvCxnSpPr>
          <p:nvPr/>
        </p:nvCxnSpPr>
        <p:spPr>
          <a:xfrm flipH="1">
            <a:off x="2554664" y="2609503"/>
            <a:ext cx="3875" cy="441697"/>
          </a:xfrm>
          <a:prstGeom prst="line">
            <a:avLst/>
          </a:prstGeom>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E079531-13A5-4892-6DAC-CD5F6C9A3AAF}"/>
              </a:ext>
            </a:extLst>
          </p:cNvPr>
          <p:cNvSpPr txBox="1"/>
          <p:nvPr/>
        </p:nvSpPr>
        <p:spPr>
          <a:xfrm>
            <a:off x="1864493" y="3052802"/>
            <a:ext cx="1398324" cy="1323439"/>
          </a:xfrm>
          <a:prstGeom prst="rect">
            <a:avLst/>
          </a:prstGeom>
          <a:noFill/>
        </p:spPr>
        <p:txBody>
          <a:bodyPr wrap="square" rtlCol="0">
            <a:spAutoFit/>
          </a:bodyPr>
          <a:lstStyle/>
          <a:p>
            <a:r>
              <a:rPr lang="en-US" sz="1600" dirty="0"/>
              <a:t>*Inner cost of funding based on term, currency and schedule</a:t>
            </a:r>
            <a:endParaRPr lang="en-NL" sz="1600" dirty="0"/>
          </a:p>
        </p:txBody>
      </p:sp>
      <p:sp>
        <p:nvSpPr>
          <p:cNvPr id="38" name="TextBox 37">
            <a:extLst>
              <a:ext uri="{FF2B5EF4-FFF2-40B4-BE49-F238E27FC236}">
                <a16:creationId xmlns:a16="http://schemas.microsoft.com/office/drawing/2014/main" id="{85E8FE80-1AA6-51F6-2B6B-4D8C670CE255}"/>
              </a:ext>
            </a:extLst>
          </p:cNvPr>
          <p:cNvSpPr txBox="1"/>
          <p:nvPr/>
        </p:nvSpPr>
        <p:spPr>
          <a:xfrm>
            <a:off x="3455187" y="3041093"/>
            <a:ext cx="1398324" cy="1077218"/>
          </a:xfrm>
          <a:prstGeom prst="rect">
            <a:avLst/>
          </a:prstGeom>
          <a:noFill/>
        </p:spPr>
        <p:txBody>
          <a:bodyPr wrap="square" rtlCol="0">
            <a:spAutoFit/>
          </a:bodyPr>
          <a:lstStyle/>
          <a:p>
            <a:r>
              <a:rPr lang="en-US" sz="1600" dirty="0"/>
              <a:t>Payments to deposit insurance agency</a:t>
            </a:r>
            <a:endParaRPr lang="en-NL" sz="1600" dirty="0"/>
          </a:p>
        </p:txBody>
      </p:sp>
      <p:sp>
        <p:nvSpPr>
          <p:cNvPr id="40" name="TextBox 39">
            <a:extLst>
              <a:ext uri="{FF2B5EF4-FFF2-40B4-BE49-F238E27FC236}">
                <a16:creationId xmlns:a16="http://schemas.microsoft.com/office/drawing/2014/main" id="{77785C50-DCEE-C328-E96C-84E2081D6FB3}"/>
              </a:ext>
            </a:extLst>
          </p:cNvPr>
          <p:cNvSpPr txBox="1"/>
          <p:nvPr/>
        </p:nvSpPr>
        <p:spPr>
          <a:xfrm>
            <a:off x="4826323" y="3041093"/>
            <a:ext cx="2595977" cy="1169551"/>
          </a:xfrm>
          <a:prstGeom prst="rect">
            <a:avLst/>
          </a:prstGeom>
          <a:noFill/>
        </p:spPr>
        <p:txBody>
          <a:bodyPr wrap="square" rtlCol="0">
            <a:spAutoFit/>
          </a:bodyPr>
          <a:lstStyle/>
          <a:p>
            <a:r>
              <a:rPr lang="en-US" sz="1400" dirty="0"/>
              <a:t>The necessity to hold a share of deposits as a reserve in CB (to fund 100 rub investment we need to originate and pay for 100/(1-0,04) rub deposit</a:t>
            </a:r>
            <a:endParaRPr lang="en-NL" sz="1400" dirty="0"/>
          </a:p>
        </p:txBody>
      </p:sp>
      <p:sp>
        <p:nvSpPr>
          <p:cNvPr id="42" name="TextBox 41">
            <a:extLst>
              <a:ext uri="{FF2B5EF4-FFF2-40B4-BE49-F238E27FC236}">
                <a16:creationId xmlns:a16="http://schemas.microsoft.com/office/drawing/2014/main" id="{9A5F33B5-7715-4CB3-AED9-AC01FA407A85}"/>
              </a:ext>
            </a:extLst>
          </p:cNvPr>
          <p:cNvSpPr txBox="1"/>
          <p:nvPr/>
        </p:nvSpPr>
        <p:spPr>
          <a:xfrm>
            <a:off x="7607595" y="3051200"/>
            <a:ext cx="1462852" cy="830997"/>
          </a:xfrm>
          <a:prstGeom prst="rect">
            <a:avLst/>
          </a:prstGeom>
          <a:noFill/>
        </p:spPr>
        <p:txBody>
          <a:bodyPr wrap="square" rtlCol="0">
            <a:spAutoFit/>
          </a:bodyPr>
          <a:lstStyle/>
          <a:p>
            <a:r>
              <a:rPr lang="en-US" sz="1600" dirty="0" err="1"/>
              <a:t>Optionalities</a:t>
            </a:r>
            <a:r>
              <a:rPr lang="en-US" sz="1600" dirty="0"/>
              <a:t> related to deposits</a:t>
            </a:r>
            <a:endParaRPr lang="en-NL" sz="1600" dirty="0"/>
          </a:p>
        </p:txBody>
      </p:sp>
      <p:cxnSp>
        <p:nvCxnSpPr>
          <p:cNvPr id="43" name="Straight Connector 42">
            <a:extLst>
              <a:ext uri="{FF2B5EF4-FFF2-40B4-BE49-F238E27FC236}">
                <a16:creationId xmlns:a16="http://schemas.microsoft.com/office/drawing/2014/main" id="{A4CC6D6F-42B4-BD32-F214-CE2EE686726D}"/>
              </a:ext>
            </a:extLst>
          </p:cNvPr>
          <p:cNvCxnSpPr>
            <a:cxnSpLocks/>
          </p:cNvCxnSpPr>
          <p:nvPr/>
        </p:nvCxnSpPr>
        <p:spPr>
          <a:xfrm flipH="1">
            <a:off x="4036243" y="2640767"/>
            <a:ext cx="3875" cy="441697"/>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B819088-06E2-B36B-65EB-7AB4F412E117}"/>
              </a:ext>
            </a:extLst>
          </p:cNvPr>
          <p:cNvCxnSpPr>
            <a:cxnSpLocks/>
          </p:cNvCxnSpPr>
          <p:nvPr/>
        </p:nvCxnSpPr>
        <p:spPr>
          <a:xfrm flipH="1">
            <a:off x="6044049" y="2633908"/>
            <a:ext cx="3875" cy="441697"/>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0DCA9C1F-E974-524B-108F-888416170AD1}"/>
              </a:ext>
            </a:extLst>
          </p:cNvPr>
          <p:cNvCxnSpPr>
            <a:cxnSpLocks/>
          </p:cNvCxnSpPr>
          <p:nvPr/>
        </p:nvCxnSpPr>
        <p:spPr>
          <a:xfrm flipH="1">
            <a:off x="8132118" y="2633908"/>
            <a:ext cx="3875" cy="441697"/>
          </a:xfrm>
          <a:prstGeom prst="line">
            <a:avLst/>
          </a:prstGeom>
        </p:spPr>
        <p:style>
          <a:lnRef idx="1">
            <a:schemeClr val="accent1"/>
          </a:lnRef>
          <a:fillRef idx="0">
            <a:schemeClr val="accent1"/>
          </a:fillRef>
          <a:effectRef idx="0">
            <a:schemeClr val="accent1"/>
          </a:effectRef>
          <a:fontRef idx="minor">
            <a:schemeClr val="tx1"/>
          </a:fontRef>
        </p:style>
      </p:cxnSp>
      <p:sp>
        <p:nvSpPr>
          <p:cNvPr id="3" name="Left Bracket 2">
            <a:extLst>
              <a:ext uri="{FF2B5EF4-FFF2-40B4-BE49-F238E27FC236}">
                <a16:creationId xmlns:a16="http://schemas.microsoft.com/office/drawing/2014/main" id="{E820FFD0-6117-8621-2DD8-B8A477A25F9E}"/>
              </a:ext>
            </a:extLst>
          </p:cNvPr>
          <p:cNvSpPr/>
          <p:nvPr/>
        </p:nvSpPr>
        <p:spPr>
          <a:xfrm rot="5400000">
            <a:off x="6079031" y="-2708476"/>
            <a:ext cx="45719" cy="8475522"/>
          </a:xfrm>
          <a:prstGeom prst="leftBracket">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6" name="TextBox 5">
            <a:extLst>
              <a:ext uri="{FF2B5EF4-FFF2-40B4-BE49-F238E27FC236}">
                <a16:creationId xmlns:a16="http://schemas.microsoft.com/office/drawing/2014/main" id="{C771824E-9752-0691-2809-02F25D2B11B4}"/>
              </a:ext>
            </a:extLst>
          </p:cNvPr>
          <p:cNvSpPr txBox="1"/>
          <p:nvPr/>
        </p:nvSpPr>
        <p:spPr>
          <a:xfrm>
            <a:off x="4796051" y="1049369"/>
            <a:ext cx="2234324" cy="369332"/>
          </a:xfrm>
          <a:prstGeom prst="rect">
            <a:avLst/>
          </a:prstGeom>
          <a:noFill/>
        </p:spPr>
        <p:txBody>
          <a:bodyPr wrap="square" rtlCol="0">
            <a:spAutoFit/>
          </a:bodyPr>
          <a:lstStyle/>
          <a:p>
            <a:r>
              <a:rPr lang="en-US" dirty="0">
                <a:solidFill>
                  <a:schemeClr val="bg1">
                    <a:lumMod val="65000"/>
                  </a:schemeClr>
                </a:solidFill>
              </a:rPr>
              <a:t>Costs</a:t>
            </a:r>
            <a:endParaRPr lang="en-NL" dirty="0">
              <a:solidFill>
                <a:schemeClr val="bg1">
                  <a:lumMod val="65000"/>
                </a:schemeClr>
              </a:solidFill>
            </a:endParaRPr>
          </a:p>
        </p:txBody>
      </p:sp>
    </p:spTree>
    <p:extLst>
      <p:ext uri="{BB962C8B-B14F-4D97-AF65-F5344CB8AC3E}">
        <p14:creationId xmlns:p14="http://schemas.microsoft.com/office/powerpoint/2010/main" val="10989446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6</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7" name="Picture 6">
            <a:extLst>
              <a:ext uri="{FF2B5EF4-FFF2-40B4-BE49-F238E27FC236}">
                <a16:creationId xmlns:a16="http://schemas.microsoft.com/office/drawing/2014/main" id="{0204345F-6801-798F-7AE3-F04009CDCFC1}"/>
              </a:ext>
            </a:extLst>
          </p:cNvPr>
          <p:cNvPicPr>
            <a:picLocks noChangeAspect="1"/>
          </p:cNvPicPr>
          <p:nvPr/>
        </p:nvPicPr>
        <p:blipFill>
          <a:blip r:embed="rId2"/>
          <a:stretch>
            <a:fillRect/>
          </a:stretch>
        </p:blipFill>
        <p:spPr>
          <a:xfrm>
            <a:off x="838200" y="138191"/>
            <a:ext cx="9658686" cy="6583284"/>
          </a:xfrm>
          <a:prstGeom prst="rect">
            <a:avLst/>
          </a:prstGeom>
        </p:spPr>
      </p:pic>
    </p:spTree>
    <p:extLst>
      <p:ext uri="{BB962C8B-B14F-4D97-AF65-F5344CB8AC3E}">
        <p14:creationId xmlns:p14="http://schemas.microsoft.com/office/powerpoint/2010/main" val="14146028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7</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isk-free rate prediction</a:t>
            </a:r>
            <a:r>
              <a:rPr lang="ru-RU" sz="2500" b="1" baseline="30000" dirty="0">
                <a:solidFill>
                  <a:srgbClr val="1F4E79"/>
                </a:solidFill>
                <a:latin typeface="Arial" panose="020B0604020202020204" pitchFamily="34" charset="0"/>
                <a:cs typeface="Arial" panose="020B0604020202020204" pitchFamily="34" charset="0"/>
              </a:rPr>
              <a:t>1</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pic>
        <p:nvPicPr>
          <p:cNvPr id="4" name="Picture 3">
            <a:extLst>
              <a:ext uri="{FF2B5EF4-FFF2-40B4-BE49-F238E27FC236}">
                <a16:creationId xmlns:a16="http://schemas.microsoft.com/office/drawing/2014/main" id="{FD8AF38E-C4AC-4834-9B9D-26B215DB90B5}"/>
              </a:ext>
            </a:extLst>
          </p:cNvPr>
          <p:cNvPicPr>
            <a:picLocks noChangeAspect="1"/>
          </p:cNvPicPr>
          <p:nvPr/>
        </p:nvPicPr>
        <p:blipFill>
          <a:blip r:embed="rId2"/>
          <a:stretch>
            <a:fillRect/>
          </a:stretch>
        </p:blipFill>
        <p:spPr>
          <a:xfrm>
            <a:off x="381958" y="822542"/>
            <a:ext cx="5067953" cy="3554149"/>
          </a:xfrm>
          <a:prstGeom prst="rect">
            <a:avLst/>
          </a:prstGeom>
        </p:spPr>
      </p:pic>
      <p:sp>
        <p:nvSpPr>
          <p:cNvPr id="6" name="TextBox 5">
            <a:extLst>
              <a:ext uri="{FF2B5EF4-FFF2-40B4-BE49-F238E27FC236}">
                <a16:creationId xmlns:a16="http://schemas.microsoft.com/office/drawing/2014/main" id="{418AC852-BC23-43D5-A644-537958D3AB4A}"/>
              </a:ext>
            </a:extLst>
          </p:cNvPr>
          <p:cNvSpPr txBox="1"/>
          <p:nvPr/>
        </p:nvSpPr>
        <p:spPr>
          <a:xfrm>
            <a:off x="5449911" y="960774"/>
            <a:ext cx="6661971" cy="3508653"/>
          </a:xfrm>
          <a:prstGeom prst="rect">
            <a:avLst/>
          </a:prstGeom>
          <a:noFill/>
        </p:spPr>
        <p:txBody>
          <a:bodyPr wrap="square" rtlCol="0">
            <a:spAutoFit/>
          </a:bodyPr>
          <a:lstStyle/>
          <a:p>
            <a:r>
              <a:rPr lang="en-US" sz="2200" b="1" dirty="0">
                <a:latin typeface="Arial" panose="020B0604020202020204" pitchFamily="34" charset="0"/>
                <a:cs typeface="Arial" panose="020B0604020202020204" pitchFamily="34" charset="0"/>
              </a:rPr>
              <a:t>Hull-White model</a:t>
            </a:r>
          </a:p>
          <a:p>
            <a:endParaRPr lang="en-US" sz="2000" b="1" dirty="0">
              <a:latin typeface="Arial" panose="020B0604020202020204" pitchFamily="34" charset="0"/>
              <a:cs typeface="Arial" panose="020B0604020202020204" pitchFamily="34" charset="0"/>
            </a:endParaRPr>
          </a:p>
          <a:p>
            <a:endParaRPr lang="en-US" sz="2000" b="1" dirty="0">
              <a:latin typeface="Arial" panose="020B0604020202020204" pitchFamily="34" charset="0"/>
              <a:cs typeface="Arial" panose="020B0604020202020204" pitchFamily="34" charset="0"/>
            </a:endParaRPr>
          </a:p>
          <a:p>
            <a:endParaRPr lang="en-US" sz="2000" b="1" dirty="0">
              <a:latin typeface="Arial" panose="020B0604020202020204" pitchFamily="34" charset="0"/>
              <a:cs typeface="Arial" panose="020B0604020202020204" pitchFamily="34" charset="0"/>
            </a:endParaRPr>
          </a:p>
          <a:p>
            <a:endParaRPr lang="en-US" sz="2000" b="1" dirty="0">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Input:</a:t>
            </a:r>
          </a:p>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Current interest rate curve</a:t>
            </a:r>
          </a:p>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History of changes (volatility) on the level of tenors</a:t>
            </a:r>
          </a:p>
          <a:p>
            <a:endParaRPr lang="en-US" sz="2000" dirty="0">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Output:</a:t>
            </a:r>
          </a:p>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Distribution of possible interest rate curve</a:t>
            </a:r>
            <a:endParaRPr lang="en-NL" sz="2000"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2184C339-8E0E-3CF6-ACB3-9F945C5C9988}"/>
              </a:ext>
            </a:extLst>
          </p:cNvPr>
          <p:cNvSpPr txBox="1"/>
          <p:nvPr/>
        </p:nvSpPr>
        <p:spPr>
          <a:xfrm>
            <a:off x="301451" y="5809346"/>
            <a:ext cx="11615894" cy="646331"/>
          </a:xfrm>
          <a:prstGeom prst="rect">
            <a:avLst/>
          </a:prstGeom>
          <a:noFill/>
          <a:ln>
            <a:solidFill>
              <a:srgbClr val="0070C0"/>
            </a:solidFill>
          </a:ln>
        </p:spPr>
        <p:txBody>
          <a:bodyPr wrap="square">
            <a:spAutoFit/>
          </a:bodyPr>
          <a:lstStyle/>
          <a:p>
            <a:r>
              <a:rPr lang="en-US" sz="1800" b="1" dirty="0">
                <a:latin typeface="Arial" panose="020B0604020202020204" pitchFamily="34" charset="0"/>
                <a:cs typeface="Arial" panose="020B0604020202020204" pitchFamily="34" charset="0"/>
              </a:rPr>
              <a:t>Manual adjustment based on the professional judgment of macroeconomists </a:t>
            </a:r>
            <a:r>
              <a:rPr lang="en-US" sz="1800" dirty="0">
                <a:latin typeface="Arial" panose="020B0604020202020204" pitchFamily="34" charset="0"/>
                <a:cs typeface="Arial" panose="020B0604020202020204" pitchFamily="34" charset="0"/>
              </a:rPr>
              <a:t>(technically via playing with HW calibration coefficients)</a:t>
            </a:r>
          </a:p>
        </p:txBody>
      </p:sp>
      <p:sp>
        <p:nvSpPr>
          <p:cNvPr id="8" name="Rectangle 7">
            <a:extLst>
              <a:ext uri="{FF2B5EF4-FFF2-40B4-BE49-F238E27FC236}">
                <a16:creationId xmlns:a16="http://schemas.microsoft.com/office/drawing/2014/main" id="{A64B4CBB-BA5C-C423-0706-B95DAB191DBE}"/>
              </a:ext>
            </a:extLst>
          </p:cNvPr>
          <p:cNvSpPr/>
          <p:nvPr/>
        </p:nvSpPr>
        <p:spPr>
          <a:xfrm>
            <a:off x="301451" y="724245"/>
            <a:ext cx="11615894" cy="4352361"/>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0" name="Plus Sign 9">
            <a:extLst>
              <a:ext uri="{FF2B5EF4-FFF2-40B4-BE49-F238E27FC236}">
                <a16:creationId xmlns:a16="http://schemas.microsoft.com/office/drawing/2014/main" id="{2A24E869-DFD7-EF55-37B8-0ACABB304AA3}"/>
              </a:ext>
            </a:extLst>
          </p:cNvPr>
          <p:cNvSpPr/>
          <p:nvPr/>
        </p:nvSpPr>
        <p:spPr>
          <a:xfrm>
            <a:off x="5700766" y="5264164"/>
            <a:ext cx="492369" cy="454765"/>
          </a:xfrm>
          <a:prstGeom prst="mathPlus">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12" name="TextBox 11">
            <a:extLst>
              <a:ext uri="{FF2B5EF4-FFF2-40B4-BE49-F238E27FC236}">
                <a16:creationId xmlns:a16="http://schemas.microsoft.com/office/drawing/2014/main" id="{D46E8337-924E-5B0D-9B23-8942DAB4AE6B}"/>
              </a:ext>
            </a:extLst>
          </p:cNvPr>
          <p:cNvSpPr txBox="1"/>
          <p:nvPr/>
        </p:nvSpPr>
        <p:spPr>
          <a:xfrm>
            <a:off x="301451" y="6546094"/>
            <a:ext cx="6094520" cy="246221"/>
          </a:xfrm>
          <a:prstGeom prst="rect">
            <a:avLst/>
          </a:prstGeom>
          <a:noFill/>
        </p:spPr>
        <p:txBody>
          <a:bodyPr wrap="square">
            <a:spAutoFit/>
          </a:bodyPr>
          <a:lstStyle/>
          <a:p>
            <a:r>
              <a:rPr lang="en-US" sz="1000" u="sng" dirty="0">
                <a:hlinkClick r:id="rId3">
                  <a:extLst>
                    <a:ext uri="{A12FA001-AC4F-418D-AE19-62706E023703}">
                      <ahyp:hlinkClr xmlns:ahyp="http://schemas.microsoft.com/office/drawing/2018/hyperlinkcolor" val="tx"/>
                    </a:ext>
                  </a:extLst>
                </a:hlinkClick>
              </a:rPr>
              <a:t>1. </a:t>
            </a:r>
            <a:r>
              <a:rPr lang="en-US" sz="1000" dirty="0">
                <a:solidFill>
                  <a:srgbClr val="0563C1"/>
                </a:solidFill>
                <a:hlinkClick r:id="rId3">
                  <a:extLst>
                    <a:ext uri="{A12FA001-AC4F-418D-AE19-62706E023703}">
                      <ahyp:hlinkClr xmlns:ahyp="http://schemas.microsoft.com/office/drawing/2018/hyperlinkcolor" val="tx"/>
                    </a:ext>
                  </a:extLst>
                </a:hlinkClick>
              </a:rPr>
              <a:t>Hull-White 1-factor model using R code | R-bloggers</a:t>
            </a:r>
            <a:endParaRPr lang="en-NL" sz="1000" dirty="0"/>
          </a:p>
        </p:txBody>
      </p:sp>
      <p:pic>
        <p:nvPicPr>
          <p:cNvPr id="14" name="Picture 13">
            <a:extLst>
              <a:ext uri="{FF2B5EF4-FFF2-40B4-BE49-F238E27FC236}">
                <a16:creationId xmlns:a16="http://schemas.microsoft.com/office/drawing/2014/main" id="{B866031C-6438-A916-5900-17452A04FC05}"/>
              </a:ext>
            </a:extLst>
          </p:cNvPr>
          <p:cNvPicPr>
            <a:picLocks noChangeAspect="1"/>
          </p:cNvPicPr>
          <p:nvPr/>
        </p:nvPicPr>
        <p:blipFill>
          <a:blip r:embed="rId4"/>
          <a:stretch>
            <a:fillRect/>
          </a:stretch>
        </p:blipFill>
        <p:spPr>
          <a:xfrm>
            <a:off x="5530418" y="1422919"/>
            <a:ext cx="6359412" cy="1080583"/>
          </a:xfrm>
          <a:prstGeom prst="rect">
            <a:avLst/>
          </a:prstGeom>
        </p:spPr>
      </p:pic>
    </p:spTree>
    <p:extLst>
      <p:ext uri="{BB962C8B-B14F-4D97-AF65-F5344CB8AC3E}">
        <p14:creationId xmlns:p14="http://schemas.microsoft.com/office/powerpoint/2010/main" val="30892111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8</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GB"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Macaulay duration and Modified duration</a:t>
            </a:r>
            <a:endPar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17" name="TextBox 16">
            <a:extLst>
              <a:ext uri="{FF2B5EF4-FFF2-40B4-BE49-F238E27FC236}">
                <a16:creationId xmlns:a16="http://schemas.microsoft.com/office/drawing/2014/main" id="{BD69FFC3-98E2-981F-8355-D6A1F4013CC8}"/>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5.2</a:t>
            </a:r>
            <a:endParaRPr lang="ru-RU" sz="2500" b="1" dirty="0">
              <a:solidFill>
                <a:srgbClr val="FF0000"/>
              </a:solidFill>
            </a:endParaRPr>
          </a:p>
        </p:txBody>
      </p:sp>
      <p:pic>
        <p:nvPicPr>
          <p:cNvPr id="4" name="Picture 3">
            <a:extLst>
              <a:ext uri="{FF2B5EF4-FFF2-40B4-BE49-F238E27FC236}">
                <a16:creationId xmlns:a16="http://schemas.microsoft.com/office/drawing/2014/main" id="{39109EAB-2ACB-4AC2-AA98-9595D9FA2C8D}"/>
              </a:ext>
            </a:extLst>
          </p:cNvPr>
          <p:cNvPicPr>
            <a:picLocks noChangeAspect="1"/>
          </p:cNvPicPr>
          <p:nvPr/>
        </p:nvPicPr>
        <p:blipFill>
          <a:blip r:embed="rId2"/>
          <a:stretch>
            <a:fillRect/>
          </a:stretch>
        </p:blipFill>
        <p:spPr>
          <a:xfrm>
            <a:off x="337350" y="849983"/>
            <a:ext cx="5375707" cy="1883862"/>
          </a:xfrm>
          <a:prstGeom prst="rect">
            <a:avLst/>
          </a:prstGeom>
        </p:spPr>
      </p:pic>
      <p:pic>
        <p:nvPicPr>
          <p:cNvPr id="10" name="Picture 9">
            <a:extLst>
              <a:ext uri="{FF2B5EF4-FFF2-40B4-BE49-F238E27FC236}">
                <a16:creationId xmlns:a16="http://schemas.microsoft.com/office/drawing/2014/main" id="{CC7C69E1-721E-4E62-ABFA-548AF492420D}"/>
              </a:ext>
            </a:extLst>
          </p:cNvPr>
          <p:cNvPicPr>
            <a:picLocks noChangeAspect="1"/>
          </p:cNvPicPr>
          <p:nvPr/>
        </p:nvPicPr>
        <p:blipFill>
          <a:blip r:embed="rId3"/>
          <a:stretch>
            <a:fillRect/>
          </a:stretch>
        </p:blipFill>
        <p:spPr>
          <a:xfrm>
            <a:off x="397168" y="2953021"/>
            <a:ext cx="9726719" cy="2277976"/>
          </a:xfrm>
          <a:prstGeom prst="rect">
            <a:avLst/>
          </a:prstGeom>
        </p:spPr>
      </p:pic>
      <p:sp>
        <p:nvSpPr>
          <p:cNvPr id="15" name="TextBox 14">
            <a:extLst>
              <a:ext uri="{FF2B5EF4-FFF2-40B4-BE49-F238E27FC236}">
                <a16:creationId xmlns:a16="http://schemas.microsoft.com/office/drawing/2014/main" id="{AEDD12B7-EF75-4635-9E48-3DA9BFBD6BB8}"/>
              </a:ext>
            </a:extLst>
          </p:cNvPr>
          <p:cNvSpPr txBox="1"/>
          <p:nvPr/>
        </p:nvSpPr>
        <p:spPr>
          <a:xfrm>
            <a:off x="516136" y="5396897"/>
            <a:ext cx="11088703" cy="954107"/>
          </a:xfrm>
          <a:prstGeom prst="rect">
            <a:avLst/>
          </a:prstGeom>
          <a:noFill/>
          <a:ln>
            <a:solidFill>
              <a:srgbClr val="0070C0"/>
            </a:solidFill>
          </a:ln>
        </p:spPr>
        <p:txBody>
          <a:bodyPr wrap="square">
            <a:spAutoFit/>
          </a:bodyPr>
          <a:lstStyle/>
          <a:p>
            <a:r>
              <a:rPr lang="en-US" sz="1400" b="0" i="0" dirty="0">
                <a:solidFill>
                  <a:srgbClr val="202122"/>
                </a:solidFill>
                <a:effectLst/>
                <a:latin typeface="Arial" panose="020B0604020202020204" pitchFamily="34" charset="0"/>
              </a:rPr>
              <a:t>It should be remembered that although Macaulay and modified duration are closely related, they are conceptually distinct. </a:t>
            </a:r>
          </a:p>
          <a:p>
            <a:r>
              <a:rPr lang="en-US" sz="1400" b="0" i="0" dirty="0">
                <a:solidFill>
                  <a:srgbClr val="202122"/>
                </a:solidFill>
                <a:effectLst/>
                <a:latin typeface="Arial" panose="020B0604020202020204" pitchFamily="34" charset="0"/>
              </a:rPr>
              <a:t>Macaulay duration is a </a:t>
            </a:r>
            <a:r>
              <a:rPr lang="en-US" sz="1400" b="1" i="0" dirty="0">
                <a:solidFill>
                  <a:srgbClr val="202122"/>
                </a:solidFill>
                <a:effectLst/>
                <a:latin typeface="Arial" panose="020B0604020202020204" pitchFamily="34" charset="0"/>
              </a:rPr>
              <a:t>weighted average time until repayment</a:t>
            </a:r>
            <a:r>
              <a:rPr lang="en-US" sz="1400" b="0" i="0" dirty="0">
                <a:solidFill>
                  <a:srgbClr val="202122"/>
                </a:solidFill>
                <a:effectLst/>
                <a:latin typeface="Arial" panose="020B0604020202020204" pitchFamily="34" charset="0"/>
              </a:rPr>
              <a:t> (measured in units of time such as years) </a:t>
            </a:r>
          </a:p>
          <a:p>
            <a:r>
              <a:rPr lang="en-US" sz="1400" b="0" i="0" dirty="0">
                <a:solidFill>
                  <a:srgbClr val="202122"/>
                </a:solidFill>
                <a:effectLst/>
                <a:latin typeface="Arial" panose="020B0604020202020204" pitchFamily="34" charset="0"/>
              </a:rPr>
              <a:t>while modified duration is a </a:t>
            </a:r>
            <a:r>
              <a:rPr lang="en-US" sz="1400" b="1" i="0" dirty="0">
                <a:solidFill>
                  <a:srgbClr val="202122"/>
                </a:solidFill>
                <a:effectLst/>
                <a:latin typeface="Arial" panose="020B0604020202020204" pitchFamily="34" charset="0"/>
              </a:rPr>
              <a:t>price sensitivity measure</a:t>
            </a:r>
            <a:r>
              <a:rPr lang="en-US" sz="1400" b="0" i="0" dirty="0">
                <a:solidFill>
                  <a:srgbClr val="202122"/>
                </a:solidFill>
                <a:effectLst/>
                <a:latin typeface="Arial" panose="020B0604020202020204" pitchFamily="34" charset="0"/>
              </a:rPr>
              <a:t> when the price is treated as a function of yield, the </a:t>
            </a:r>
            <a:r>
              <a:rPr lang="en-US" sz="1400" b="0" i="1" dirty="0">
                <a:solidFill>
                  <a:srgbClr val="202122"/>
                </a:solidFill>
                <a:effectLst/>
                <a:latin typeface="Arial" panose="020B0604020202020204" pitchFamily="34" charset="0"/>
              </a:rPr>
              <a:t>percentage change</a:t>
            </a:r>
            <a:r>
              <a:rPr lang="en-US" sz="1400" b="0" i="0" dirty="0">
                <a:solidFill>
                  <a:srgbClr val="202122"/>
                </a:solidFill>
                <a:effectLst/>
                <a:latin typeface="Arial" panose="020B0604020202020204" pitchFamily="34" charset="0"/>
              </a:rPr>
              <a:t> in price with respect to yield</a:t>
            </a:r>
            <a:endParaRPr lang="en-NL" sz="1400" dirty="0"/>
          </a:p>
        </p:txBody>
      </p:sp>
      <p:sp>
        <p:nvSpPr>
          <p:cNvPr id="3" name="Rectangle 2">
            <a:extLst>
              <a:ext uri="{FF2B5EF4-FFF2-40B4-BE49-F238E27FC236}">
                <a16:creationId xmlns:a16="http://schemas.microsoft.com/office/drawing/2014/main" id="{D7219301-277D-B3F2-7128-4031D234B954}"/>
              </a:ext>
            </a:extLst>
          </p:cNvPr>
          <p:cNvSpPr/>
          <p:nvPr/>
        </p:nvSpPr>
        <p:spPr>
          <a:xfrm>
            <a:off x="516135" y="2936919"/>
            <a:ext cx="11088704" cy="2277976"/>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
        <p:nvSpPr>
          <p:cNvPr id="6" name="Rectangle 5">
            <a:extLst>
              <a:ext uri="{FF2B5EF4-FFF2-40B4-BE49-F238E27FC236}">
                <a16:creationId xmlns:a16="http://schemas.microsoft.com/office/drawing/2014/main" id="{D1C09931-A17D-23DD-3C19-05884C2FDE21}"/>
              </a:ext>
            </a:extLst>
          </p:cNvPr>
          <p:cNvSpPr/>
          <p:nvPr/>
        </p:nvSpPr>
        <p:spPr>
          <a:xfrm>
            <a:off x="516134" y="866084"/>
            <a:ext cx="11088704" cy="1883861"/>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p>
        </p:txBody>
      </p:sp>
    </p:spTree>
    <p:extLst>
      <p:ext uri="{BB962C8B-B14F-4D97-AF65-F5344CB8AC3E}">
        <p14:creationId xmlns:p14="http://schemas.microsoft.com/office/powerpoint/2010/main" val="32312364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5.2 Interest rate risk (IRR)</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9</a:t>
            </a:fld>
            <a:endParaRPr lang="en-US" dirty="0"/>
          </a:p>
        </p:txBody>
      </p:sp>
      <p:sp>
        <p:nvSpPr>
          <p:cNvPr id="7" name="Заголовок 1"/>
          <p:cNvSpPr txBox="1">
            <a:spLocks/>
          </p:cNvSpPr>
          <p:nvPr/>
        </p:nvSpPr>
        <p:spPr>
          <a:xfrm>
            <a:off x="672305" y="2018599"/>
            <a:ext cx="9144000" cy="188838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GB" sz="3000" dirty="0">
                <a:latin typeface="Arial" panose="020B0604020202020204" pitchFamily="34" charset="0"/>
                <a:cs typeface="Arial" panose="020B0604020202020204" pitchFamily="34" charset="0"/>
              </a:rPr>
              <a:t>Foundations</a:t>
            </a:r>
          </a:p>
          <a:p>
            <a:pPr marL="457200" indent="-457200" algn="l">
              <a:buFont typeface="Arial" panose="020B0604020202020204" pitchFamily="34" charset="0"/>
              <a:buChar char="•"/>
            </a:pPr>
            <a:r>
              <a:rPr lang="en-GB" sz="3000" dirty="0">
                <a:latin typeface="Arial" panose="020B0604020202020204" pitchFamily="34" charset="0"/>
                <a:cs typeface="Arial" panose="020B0604020202020204" pitchFamily="34" charset="0"/>
              </a:rPr>
              <a:t>Interest rate risk metrics</a:t>
            </a:r>
          </a:p>
          <a:p>
            <a:pPr marL="457200" indent="-457200" algn="l">
              <a:buFont typeface="Arial" panose="020B0604020202020204" pitchFamily="34" charset="0"/>
              <a:buChar char="•"/>
            </a:pPr>
            <a:r>
              <a:rPr lang="en-GB" sz="3000" dirty="0">
                <a:latin typeface="Arial" panose="020B0604020202020204" pitchFamily="34" charset="0"/>
                <a:cs typeface="Arial" panose="020B0604020202020204" pitchFamily="34" charset="0"/>
              </a:rPr>
              <a:t>Instruments of managing</a:t>
            </a:r>
          </a:p>
          <a:p>
            <a:pPr marL="457200" indent="-457200" algn="l">
              <a:buFont typeface="Arial" panose="020B0604020202020204" pitchFamily="34" charset="0"/>
              <a:buChar char="•"/>
            </a:pPr>
            <a:endParaRPr lang="en-GB" sz="3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016388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0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bNumberIsYear val=&quot;0&quot;/&gt;&lt;m_strFormatTime&gt;%m.%y&lt;/m_strFormatTime&gt;&lt;m_yearfmt&gt;&lt;begin val=&quot;4&quot;/&gt;&lt;end val=&quot;4&quot;/&gt;&lt;/m_yearfmt&gt;&lt;/m_precDefaultMonth&gt;&lt;m_precDefaultQuarter&gt;&lt;m_bNumberIsYear val=&quot;0&quot;/&gt;&lt;m_strFormatTime&gt;%6/%y&lt;/m_strFormatTime&gt;&lt;m_yearfmt&gt;&lt;begin val=&quot;4&quot;/&gt;&lt;end val=&quot;4&quot;/&gt;&lt;/m_yearfmt&gt;&lt;/m_precDefaultQuarter&gt;&lt;m_precDefaultYear&gt;&lt;m_bNumberIsYear val=&quot;0&quot;/&gt;&lt;m_strFormatTime&gt;%y&lt;/m_strFormatTime&gt;&lt;m_yearfmt&gt;&lt;begin val=&quot;4&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3.92657400688263980015E+00&quot;&gt;&lt;m_msothmcolidx val=&quot;0&quot;/&gt;&lt;m_rgb r=&quot;01&quot; g=&quot;D0&quot; b=&quot;B2&quot;/&gt;&lt;/elem&gt;&lt;elem m_fUsage=&quot;3.48640357080415252966E+00&quot;&gt;&lt;m_msothmcolidx val=&quot;0&quot;/&gt;&lt;m_rgb r=&quot;EB&quot; g=&quot;3C&quot; b=&quot;51&quot;/&gt;&lt;/elem&gt;&lt;elem m_fUsage=&quot;1.13304187590217297910E+00&quot;&gt;&lt;m_msothmcolidx val=&quot;0&quot;/&gt;&lt;m_rgb r=&quot;1F&quot; g=&quot;4E&quot; b=&quot;79&quot;/&gt;&lt;/elem&gt;&lt;elem m_fUsage=&quot;9.00000000000000022204E-01&quot;&gt;&lt;m_msothmcolidx val=&quot;0&quot;/&gt;&lt;m_rgb r=&quot;1A&quot; g=&quot;CC&quot; b=&quot;B3&quot;/&gt;&lt;/elem&gt;&lt;elem m_fUsage=&quot;4.65496520594089135958E-01&quot;&gt;&lt;m_msothmcolidx val=&quot;0&quot;/&gt;&lt;m_rgb r=&quot;BF&quot; g=&quot;D9&quot; b=&quot;F2&quot;/&gt;&lt;/elem&gt;&lt;elem m_fUsage=&quot;6.92046620607724011220E-02&quot;&gt;&lt;m_msothmcolidx val=&quot;0&quot;/&gt;&lt;m_rgb r=&quot;67&quot; g=&quot;A3&quot; b=&quot;DE&quot;/&gt;&lt;/elem&gt;&lt;elem m_fUsage=&quot;5.72641689702235463094E-03&quot;&gt;&lt;m_msothmcolidx val=&quot;0&quot;/&gt;&lt;m_rgb r=&quot;5C&quot; g=&quot;9C&quot; b=&quot;DB&quot;/&gt;&lt;/elem&gt;&lt;elem m_fUsage=&quot;5.25757294306693385988E-03&quot;&gt;&lt;m_msothmcolidx val=&quot;0&quot;/&gt;&lt;m_rgb r=&quot;29&quot; g=&quot;68&quot; b=&quot;A0&quot;/&gt;&lt;/elem&gt;&lt;elem m_fUsage=&quot;4.72836216603517416751E-03&quot;&gt;&lt;m_msothmcolidx val=&quot;0&quot;/&gt;&lt;m_rgb r=&quot;1B&quot; g=&quot;4B&quot; b=&quot;7C&quot;/&gt;&lt;/elem&gt;&lt;elem m_fUsage=&quot;2.60386015355053073925E-03&quot;&gt;&lt;m_msothmcolidx val=&quot;0&quot;/&gt;&lt;m_rgb r=&quot;FB&quot; g=&quot;C6&quot; b=&quot;7A&quot;/&gt;&lt;/elem&gt;&lt;elem m_fUsage=&quot;3.28067878494868730033E-04&quot;&gt;&lt;m_msothmcolidx val=&quot;0&quot;/&gt;&lt;m_rgb r=&quot;D5&quot; g=&quot;E3&quot; b=&quot;F0&quot;/&gt;&lt;/elem&gt;&lt;elem m_fUsage=&quot;2.42749445031547234118E-04&quot;&gt;&lt;m_msothmcolidx val=&quot;0&quot;/&gt;&lt;m_rgb r=&quot;19&quot; g=&quot;C4&quot; b=&quot;AD&quot;/&gt;&lt;/elem&gt;&lt;elem m_fUsage=&quot;1.27147365874567412668E-04&quot;&gt;&lt;m_msothmcolidx val=&quot;0&quot;/&gt;&lt;m_rgb r=&quot;99&quot; g=&quot;C1&quot; b=&quot;EA&quot;/&gt;&lt;/elem&gt;&lt;elem m_fUsage=&quot;1.14663209187165971619E-04&quot;&gt;&lt;m_msothmcolidx val=&quot;0&quot;/&gt;&lt;m_rgb r=&quot;44&quot; g=&quot;8D&quot; b=&quot;D7&quot;/&gt;&lt;/elem&gt;&lt;elem m_fUsage=&quot;8.00732654508037438581E-05&quot;&gt;&lt;m_msothmcolidx val=&quot;0&quot;/&gt;&lt;m_rgb r=&quot;14&quot; g=&quot;38&quot; b=&quot;5C&quot;/&gt;&lt;/elem&gt;&lt;elem m_fUsage=&quot;2.03296708912534923022E-05&quot;&gt;&lt;m_msothmcolidx val=&quot;0&quot;/&gt;&lt;m_rgb r=&quot;0E&quot; g=&quot;29&quot; b=&quot;45&quot;/&gt;&lt;/elem&gt;&lt;elem m_fUsage=&quot;1.41158163862184179890E-05&quot;&gt;&lt;m_msothmcolidx val=&quot;0&quot;/&gt;&lt;m_rgb r=&quot;18&quot; g=&quot;44&quot; b=&quot;70&quot;/&gt;&lt;/elem&gt;&lt;elem m_fUsage=&quot;1.14338112728369176055E-05&quot;&gt;&lt;m_msothmcolidx val=&quot;0&quot;/&gt;&lt;m_rgb r=&quot;C2&quot; g=&quot;D7&quot; b=&quot;EB&quot;/&gt;&lt;/elem&gt;&lt;elem m_fUsage=&quot;1.09907671777604938390E-05&quot;&gt;&lt;m_msothmcolidx val=&quot;0&quot;/&gt;&lt;m_rgb r=&quot;C5&quot; g=&quot;D8&quot; b=&quot;EB&quot;/&gt;&lt;/elem&gt;&lt;elem m_fUsage=&quot;5.60629055364774212656E-06&quot;&gt;&lt;m_msothmcolidx val=&quot;0&quot;/&gt;&lt;m_rgb r=&quot;14&quot; g=&quot;3A&quot; b=&quot;61&quot;/&gt;&lt;/elem&gt;&lt;elem m_fUsage=&quot;4.47282865952980774281E-06&quot;&gt;&lt;m_msothmcolidx val=&quot;0&quot;/&gt;&lt;m_rgb r=&quot;B7&quot; g=&quot;CE&quot; b=&quot;E6&quot;/&gt;&lt;/elem&gt;&lt;elem m_fUsage=&quot;1.54039716234422188595E-06&quot;&gt;&lt;m_msothmcolidx val=&quot;0&quot;/&gt;&lt;m_rgb r=&quot;11&quot; g=&quot;31&quot; b=&quot;51&quot;/&gt;&lt;/elem&gt;&lt;elem m_fUsage=&quot;1.01337161782938879136E-06&quot;&gt;&lt;m_msothmcolidx val=&quot;0&quot;/&gt;&lt;m_rgb r=&quot;16&quot; g=&quot;40&quot; b=&quot;69&quot;/&gt;&lt;/elem&gt;&lt;elem m_fUsage=&quot;8.20831010441804957000E-07&quot;&gt;&lt;m_msothmcolidx val=&quot;0&quot;/&gt;&lt;m_rgb r=&quot;BD&quot; g=&quot;D3&quot; b=&quot;E8&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4F880DBD-1455-B44D-B92A-5811B7384C41}"/>
    </a:ext>
  </a:extLst>
</a:theme>
</file>

<file path=ppt/theme/theme2.xml><?xml version="1.0" encoding="utf-8"?>
<a:theme xmlns:a="http://schemas.openxmlformats.org/drawingml/2006/main" name="1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0C2D48D-24F4-7843-8069-08EDE33C33AF}"/>
    </a:ext>
  </a:extLst>
</a:theme>
</file>

<file path=ppt/theme/theme3.xml><?xml version="1.0" encoding="utf-8"?>
<a:theme xmlns:a="http://schemas.openxmlformats.org/drawingml/2006/main" name="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49BB1D3-B32A-4745-9436-A6D9416A2C99}"/>
    </a:ext>
  </a:extLst>
</a:theme>
</file>

<file path=ppt/theme/theme4.xml><?xml version="1.0" encoding="utf-8"?>
<a:theme xmlns:a="http://schemas.openxmlformats.org/drawingml/2006/main" name="2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8294BE27-7173-E440-83D1-EE186411A945}"/>
    </a:ext>
  </a:extLst>
</a:theme>
</file>

<file path=ppt/theme/theme5.xml><?xml version="1.0" encoding="utf-8"?>
<a:theme xmlns:a="http://schemas.openxmlformats.org/drawingml/2006/main" name="4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0F973EEC-E155-2945-9C0F-824B73A4A9D0}"/>
    </a:ext>
  </a:extLst>
</a:theme>
</file>

<file path=ppt/theme/theme6.xml><?xml version="1.0" encoding="utf-8"?>
<a:theme xmlns:a="http://schemas.openxmlformats.org/drawingml/2006/main" name="Титулы_СБ">
  <a:themeElements>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шаблон-СБ-16-9" id="{139DC356-87A8-4CA5-A90F-96BAD60E2965}" vid="{22A53204-ED80-4269-9A04-24C44FF7FB65}"/>
    </a:ext>
  </a:extLst>
</a:theme>
</file>

<file path=ppt/theme/theme7.xml><?xml version="1.0" encoding="utf-8"?>
<a:theme xmlns:a="http://schemas.openxmlformats.org/drawingml/2006/main" name="1_Office Them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Оформление по умолчанию</Template>
  <TotalTime>150677</TotalTime>
  <Words>4211</Words>
  <Application>Microsoft Office PowerPoint</Application>
  <PresentationFormat>Widescreen</PresentationFormat>
  <Paragraphs>523</Paragraphs>
  <Slides>51</Slides>
  <Notes>0</Notes>
  <HiddenSlides>3</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51</vt:i4>
      </vt:variant>
    </vt:vector>
  </HeadingPairs>
  <TitlesOfParts>
    <vt:vector size="70" baseType="lpstr">
      <vt:lpstr>Arial</vt:lpstr>
      <vt:lpstr>Calibri</vt:lpstr>
      <vt:lpstr>Calibri Light</vt:lpstr>
      <vt:lpstr>Cambria Math</vt:lpstr>
      <vt:lpstr>Circe</vt:lpstr>
      <vt:lpstr>Circe Light</vt:lpstr>
      <vt:lpstr>Fedra Sans Pro Book</vt:lpstr>
      <vt:lpstr>Franklin Gothic Book</vt:lpstr>
      <vt:lpstr>SB Sans Display</vt:lpstr>
      <vt:lpstr>Segoe UI</vt:lpstr>
      <vt:lpstr>Wingdings</vt:lpstr>
      <vt:lpstr>3_Sberbank-theme</vt:lpstr>
      <vt:lpstr>1_Sberbank-theme</vt:lpstr>
      <vt:lpstr>Sberbank-theme</vt:lpstr>
      <vt:lpstr>2_Sberbank-theme</vt:lpstr>
      <vt:lpstr>4_Sberbank-theme</vt:lpstr>
      <vt:lpstr>Титулы_СБ</vt:lpstr>
      <vt:lpstr>1_Office Theme</vt:lpstr>
      <vt:lpstr>Слайд think-cell</vt:lpstr>
      <vt:lpstr>5.1 Introduc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5.2 Interest rate risk (IR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5.3 Fund transfer pric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subject/>
  <dc:creator>Microsoft Office User</dc:creator>
  <cp:keywords/>
  <dc:description/>
  <cp:lastModifiedBy>STEPANCHENKO, D. (Dmitrii)</cp:lastModifiedBy>
  <cp:revision>3533</cp:revision>
  <dcterms:created xsi:type="dcterms:W3CDTF">2021-03-01T07:36:38Z</dcterms:created>
  <dcterms:modified xsi:type="dcterms:W3CDTF">2023-03-13T17:54:07Z</dcterms:modified>
  <cp:category/>
</cp:coreProperties>
</file>